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113.xml" ContentType="application/vnd.openxmlformats-officedocument.drawingml.chart+xml"/>
  <Override PartName="/ppt/charts/chart114.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37.xml" ContentType="application/vnd.openxmlformats-officedocument.drawingml.chart+xml"/>
  <Override PartName="/ppt/charts/chart138.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61.xml" ContentType="application/vnd.openxmlformats-officedocument.drawingml.chart+xml"/>
  <Override PartName="/ppt/charts/chart16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85.xml" ContentType="application/vnd.openxmlformats-officedocument.drawingml.chart+xml"/>
  <Override PartName="/ppt/charts/chart186.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201.xml" ContentType="application/vnd.openxmlformats-officedocument.drawingml.chart+xml"/>
  <Override PartName="/ppt/charts/chart20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209.xml" ContentType="application/vnd.openxmlformats-officedocument.drawingml.chart+xml"/>
  <Override PartName="/ppt/charts/chart210.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225.xml" ContentType="application/vnd.openxmlformats-officedocument.drawingml.chart+xml"/>
  <Override PartName="/ppt/charts/chart226.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233.xml" ContentType="application/vnd.openxmlformats-officedocument.drawingml.chart+xml"/>
  <Override PartName="/ppt/charts/chart234.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249.xml" ContentType="application/vnd.openxmlformats-officedocument.drawingml.chart+xml"/>
  <Override PartName="/ppt/charts/chart250.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257.xml" ContentType="application/vnd.openxmlformats-officedocument.drawingml.chart+xml"/>
  <Override PartName="/ppt/charts/chart258.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94.xml" ContentType="application/vnd.openxmlformats-officedocument.presentationml.tags+xml"/>
  <Override PartName="/ppt/notesSlides/notesSlide67.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tags/tag95.xml" ContentType="application/vnd.openxmlformats-officedocument.presentationml.tags+xml"/>
  <Override PartName="/ppt/notesSlides/notesSlide68.xml" ContentType="application/vnd.openxmlformats-officedocument.presentationml.notesSlide+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tags/tag96.xml" ContentType="application/vnd.openxmlformats-officedocument.presentationml.tags+xml"/>
  <Override PartName="/ppt/notesSlides/notesSlide69.xml" ContentType="application/vnd.openxmlformats-officedocument.presentationml.notesSlide+xml"/>
  <Override PartName="/ppt/charts/chart273.xml" ContentType="application/vnd.openxmlformats-officedocument.drawingml.chart+xml"/>
  <Override PartName="/ppt/charts/chart274.xml" ContentType="application/vnd.openxmlformats-officedocument.drawingml.chart+xml"/>
  <Override PartName="/ppt/tags/tag97.xml" ContentType="application/vnd.openxmlformats-officedocument.presentationml.tags+xml"/>
  <Override PartName="/ppt/notesSlides/notesSlide70.xml" ContentType="application/vnd.openxmlformats-officedocument.presentationml.notesSlide+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tags/tag98.xml" ContentType="application/vnd.openxmlformats-officedocument.presentationml.tags+xml"/>
  <Override PartName="/ppt/notesSlides/notesSlide71.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tags/tag99.xml" ContentType="application/vnd.openxmlformats-officedocument.presentationml.tags+xml"/>
  <Override PartName="/ppt/notesSlides/notesSlide72.xml" ContentType="application/vnd.openxmlformats-officedocument.presentationml.notesSlide+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tags/tag102.xml" ContentType="application/vnd.openxmlformats-officedocument.presentationml.tags+xml"/>
  <Override PartName="/ppt/notesSlides/notesSlide75.xml" ContentType="application/vnd.openxmlformats-officedocument.presentationml.notesSlide+xml"/>
  <Override PartName="/ppt/charts/chart297.xml" ContentType="application/vnd.openxmlformats-officedocument.drawingml.chart+xml"/>
  <Override PartName="/ppt/charts/chart298.xml" ContentType="application/vnd.openxmlformats-officedocument.drawingml.chart+xml"/>
  <Override PartName="/ppt/tags/tag103.xml" ContentType="application/vnd.openxmlformats-officedocument.presentationml.tags+xml"/>
  <Override PartName="/ppt/notesSlides/notesSlide76.xml" ContentType="application/vnd.openxmlformats-officedocument.presentationml.notesSlide+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tags/tag104.xml" ContentType="application/vnd.openxmlformats-officedocument.presentationml.tags+xml"/>
  <Override PartName="/ppt/notesSlides/notesSlide77.xml" ContentType="application/vnd.openxmlformats-officedocument.presentationml.notesSlide+xml"/>
  <Override PartName="/ppt/charts/chart305.xml" ContentType="application/vnd.openxmlformats-officedocument.drawingml.chart+xml"/>
  <Override PartName="/ppt/charts/chart306.xml" ContentType="application/vnd.openxmlformats-officedocument.drawingml.chart+xml"/>
  <Override PartName="/ppt/tags/tag105.xml" ContentType="application/vnd.openxmlformats-officedocument.presentationml.tags+xml"/>
  <Override PartName="/ppt/notesSlides/notesSlide78.xml" ContentType="application/vnd.openxmlformats-officedocument.presentationml.notesSlide+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106.xml" ContentType="application/vnd.openxmlformats-officedocument.presentationml.tags+xml"/>
  <Override PartName="/ppt/notesSlides/notesSlide79.xml" ContentType="application/vnd.openxmlformats-officedocument.presentationml.notesSlide+xml"/>
  <Override PartName="/ppt/charts/chart313.xml" ContentType="application/vnd.openxmlformats-officedocument.drawingml.chart+xml"/>
  <Override PartName="/ppt/charts/chart314.xml" ContentType="application/vnd.openxmlformats-officedocument.drawingml.chart+xml"/>
  <Override PartName="/ppt/tags/tag107.xml" ContentType="application/vnd.openxmlformats-officedocument.presentationml.tags+xml"/>
  <Override PartName="/ppt/notesSlides/notesSlide80.xml" ContentType="application/vnd.openxmlformats-officedocument.presentationml.notesSlide+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tags/tag108.xml" ContentType="application/vnd.openxmlformats-officedocument.presentationml.tags+xml"/>
  <Override PartName="/ppt/notesSlides/notesSlide81.xml" ContentType="application/vnd.openxmlformats-officedocument.presentationml.notesSlide+xml"/>
  <Override PartName="/ppt/charts/chart321.xml" ContentType="application/vnd.openxmlformats-officedocument.drawingml.chart+xml"/>
  <Override PartName="/ppt/charts/chart322.xml" ContentType="application/vnd.openxmlformats-officedocument.drawingml.chart+xml"/>
  <Override PartName="/ppt/tags/tag109.xml" ContentType="application/vnd.openxmlformats-officedocument.presentationml.tags+xml"/>
  <Override PartName="/ppt/notesSlides/notesSlide82.xml" ContentType="application/vnd.openxmlformats-officedocument.presentationml.notesSlide+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tags/tag110.xml" ContentType="application/vnd.openxmlformats-officedocument.presentationml.tags+xml"/>
  <Override PartName="/ppt/notesSlides/notesSlide83.xml" ContentType="application/vnd.openxmlformats-officedocument.presentationml.notesSlide+xml"/>
  <Override PartName="/ppt/charts/chart329.xml" ContentType="application/vnd.openxmlformats-officedocument.drawingml.chart+xml"/>
  <Override PartName="/ppt/charts/chart330.xml" ContentType="application/vnd.openxmlformats-officedocument.drawingml.chart+xml"/>
  <Override PartName="/ppt/tags/tag111.xml" ContentType="application/vnd.openxmlformats-officedocument.presentationml.tags+xml"/>
  <Override PartName="/ppt/notesSlides/notesSlide84.xml" ContentType="application/vnd.openxmlformats-officedocument.presentationml.notesSlide+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tags/tag112.xml" ContentType="application/vnd.openxmlformats-officedocument.presentationml.tags+xml"/>
  <Override PartName="/ppt/notesSlides/notesSlide85.xml" ContentType="application/vnd.openxmlformats-officedocument.presentationml.notesSlide+xml"/>
  <Override PartName="/ppt/charts/chart337.xml" ContentType="application/vnd.openxmlformats-officedocument.drawingml.chart+xml"/>
  <Override PartName="/ppt/charts/chart338.xml" ContentType="application/vnd.openxmlformats-officedocument.drawingml.chart+xml"/>
  <Override PartName="/ppt/tags/tag113.xml" ContentType="application/vnd.openxmlformats-officedocument.presentationml.tags+xml"/>
  <Override PartName="/ppt/notesSlides/notesSlide86.xml" ContentType="application/vnd.openxmlformats-officedocument.presentationml.notesSlide+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tags/tag114.xml" ContentType="application/vnd.openxmlformats-officedocument.presentationml.tags+xml"/>
  <Override PartName="/ppt/notesSlides/notesSlide87.xml" ContentType="application/vnd.openxmlformats-officedocument.presentationml.notesSlide+xml"/>
  <Override PartName="/ppt/charts/chart345.xml" ContentType="application/vnd.openxmlformats-officedocument.drawingml.chart+xml"/>
  <Override PartName="/ppt/charts/chart346.xml" ContentType="application/vnd.openxmlformats-officedocument.drawingml.chart+xml"/>
  <Override PartName="/ppt/tags/tag115.xml" ContentType="application/vnd.openxmlformats-officedocument.presentationml.tags+xml"/>
  <Override PartName="/ppt/notesSlides/notesSlide88.xml" ContentType="application/vnd.openxmlformats-officedocument.presentationml.notesSlide+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tags/tag116.xml" ContentType="application/vnd.openxmlformats-officedocument.presentationml.tags+xml"/>
  <Override PartName="/ppt/notesSlides/notesSlide89.xml" ContentType="application/vnd.openxmlformats-officedocument.presentationml.notesSlide+xml"/>
  <Override PartName="/ppt/charts/chart353.xml" ContentType="application/vnd.openxmlformats-officedocument.drawingml.chart+xml"/>
  <Override PartName="/ppt/charts/chart354.xml" ContentType="application/vnd.openxmlformats-officedocument.drawingml.chart+xml"/>
  <Override PartName="/ppt/tags/tag117.xml" ContentType="application/vnd.openxmlformats-officedocument.presentationml.tags+xml"/>
  <Override PartName="/ppt/notesSlides/notesSlide90.xml" ContentType="application/vnd.openxmlformats-officedocument.presentationml.notesSlide+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tags/tag118.xml" ContentType="application/vnd.openxmlformats-officedocument.presentationml.tags+xml"/>
  <Override PartName="/ppt/notesSlides/notesSlide91.xml" ContentType="application/vnd.openxmlformats-officedocument.presentationml.notesSlide+xml"/>
  <Override PartName="/ppt/charts/chart361.xml" ContentType="application/vnd.openxmlformats-officedocument.drawingml.chart+xml"/>
  <Override PartName="/ppt/charts/chart362.xml" ContentType="application/vnd.openxmlformats-officedocument.drawingml.chart+xml"/>
  <Override PartName="/ppt/tags/tag119.xml" ContentType="application/vnd.openxmlformats-officedocument.presentationml.tags+xml"/>
  <Override PartName="/ppt/notesSlides/notesSlide92.xml" ContentType="application/vnd.openxmlformats-officedocument.presentationml.notesSlide+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tags/tag120.xml" ContentType="application/vnd.openxmlformats-officedocument.presentationml.tags+xml"/>
  <Override PartName="/ppt/notesSlides/notesSlide93.xml" ContentType="application/vnd.openxmlformats-officedocument.presentationml.notesSlide+xml"/>
  <Override PartName="/ppt/charts/chart369.xml" ContentType="application/vnd.openxmlformats-officedocument.drawingml.chart+xml"/>
  <Override PartName="/ppt/charts/chart370.xml" ContentType="application/vnd.openxmlformats-officedocument.drawingml.chart+xml"/>
  <Override PartName="/ppt/tags/tag121.xml" ContentType="application/vnd.openxmlformats-officedocument.presentationml.tags+xml"/>
  <Override PartName="/ppt/notesSlides/notesSlide94.xml" ContentType="application/vnd.openxmlformats-officedocument.presentationml.notesSlide+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tags/tag122.xml" ContentType="application/vnd.openxmlformats-officedocument.presentationml.tags+xml"/>
  <Override PartName="/ppt/notesSlides/notesSlide95.xml" ContentType="application/vnd.openxmlformats-officedocument.presentationml.notesSlide+xml"/>
  <Override PartName="/ppt/charts/chart377.xml" ContentType="application/vnd.openxmlformats-officedocument.drawingml.chart+xml"/>
  <Override PartName="/ppt/charts/chart378.xml" ContentType="application/vnd.openxmlformats-officedocument.drawingml.chart+xml"/>
  <Override PartName="/ppt/tags/tag123.xml" ContentType="application/vnd.openxmlformats-officedocument.presentationml.tags+xml"/>
  <Override PartName="/ppt/notesSlides/notesSlide96.xml" ContentType="application/vnd.openxmlformats-officedocument.presentationml.notesSlide+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tags/tag124.xml" ContentType="application/vnd.openxmlformats-officedocument.presentationml.tags+xml"/>
  <Override PartName="/ppt/notesSlides/notesSlide97.xml" ContentType="application/vnd.openxmlformats-officedocument.presentationml.notesSlide+xml"/>
  <Override PartName="/ppt/charts/chart385.xml" ContentType="application/vnd.openxmlformats-officedocument.drawingml.chart+xml"/>
  <Override PartName="/ppt/charts/chart386.xml" ContentType="application/vnd.openxmlformats-officedocument.drawingml.chart+xml"/>
  <Override PartName="/ppt/tags/tag125.xml" ContentType="application/vnd.openxmlformats-officedocument.presentationml.tags+xml"/>
  <Override PartName="/ppt/notesSlides/notesSlide98.xml" ContentType="application/vnd.openxmlformats-officedocument.presentationml.notesSlide+xml"/>
  <Override PartName="/ppt/charts/chart387.xml" ContentType="application/vnd.openxmlformats-officedocument.drawingml.chart+xml"/>
  <Override PartName="/ppt/charts/chart388.xml" ContentType="application/vnd.openxmlformats-officedocument.drawingml.chart+xml"/>
  <Override PartName="/ppt/tags/tag126.xml" ContentType="application/vnd.openxmlformats-officedocument.presentationml.tags+xml"/>
  <Override PartName="/ppt/notesSlides/notesSlide99.xml" ContentType="application/vnd.openxmlformats-officedocument.presentationml.notesSlide+xml"/>
  <Override PartName="/ppt/charts/chart389.xml" ContentType="application/vnd.openxmlformats-officedocument.drawingml.chart+xml"/>
  <Override PartName="/ppt/charts/chart390.xml" ContentType="application/vnd.openxmlformats-officedocument.drawingml.chart+xml"/>
  <Override PartName="/ppt/tags/tag127.xml" ContentType="application/vnd.openxmlformats-officedocument.presentationml.tags+xml"/>
  <Override PartName="/ppt/notesSlides/notesSlide100.xml" ContentType="application/vnd.openxmlformats-officedocument.presentationml.notesSlide+xml"/>
  <Override PartName="/ppt/charts/chart391.xml" ContentType="application/vnd.openxmlformats-officedocument.drawingml.chart+xml"/>
  <Override PartName="/ppt/charts/chart392.xml" ContentType="application/vnd.openxmlformats-officedocument.drawingml.chart+xml"/>
  <Override PartName="/ppt/tags/tag128.xml" ContentType="application/vnd.openxmlformats-officedocument.presentationml.tags+xml"/>
  <Override PartName="/ppt/notesSlides/notesSlide101.xml" ContentType="application/vnd.openxmlformats-officedocument.presentationml.notesSlide+xml"/>
  <Override PartName="/ppt/charts/chart393.xml" ContentType="application/vnd.openxmlformats-officedocument.drawingml.chart+xml"/>
  <Override PartName="/ppt/charts/chart394.xml" ContentType="application/vnd.openxmlformats-officedocument.drawingml.chart+xml"/>
  <Override PartName="/ppt/tags/tag129.xml" ContentType="application/vnd.openxmlformats-officedocument.presentationml.tags+xml"/>
  <Override PartName="/ppt/notesSlides/notesSlide102.xml" ContentType="application/vnd.openxmlformats-officedocument.presentationml.notesSlide+xml"/>
  <Override PartName="/ppt/charts/chart395.xml" ContentType="application/vnd.openxmlformats-officedocument.drawingml.chart+xml"/>
  <Override PartName="/ppt/charts/chart396.xml" ContentType="application/vnd.openxmlformats-officedocument.drawingml.chart+xml"/>
  <Override PartName="/ppt/tags/tag130.xml" ContentType="application/vnd.openxmlformats-officedocument.presentationml.tags+xml"/>
  <Override PartName="/ppt/notesSlides/notesSlide103.xml" ContentType="application/vnd.openxmlformats-officedocument.presentationml.notesSlide+xml"/>
  <Override PartName="/ppt/charts/chart397.xml" ContentType="application/vnd.openxmlformats-officedocument.drawingml.chart+xml"/>
  <Override PartName="/ppt/charts/chart398.xml" ContentType="application/vnd.openxmlformats-officedocument.drawingml.chart+xml"/>
  <Override PartName="/ppt/tags/tag131.xml" ContentType="application/vnd.openxmlformats-officedocument.presentationml.tags+xml"/>
  <Override PartName="/ppt/notesSlides/notesSlide104.xml" ContentType="application/vnd.openxmlformats-officedocument.presentationml.notesSlide+xml"/>
  <Override PartName="/ppt/charts/chart399.xml" ContentType="application/vnd.openxmlformats-officedocument.drawingml.chart+xml"/>
  <Override PartName="/ppt/charts/chart400.xml" ContentType="application/vnd.openxmlformats-officedocument.drawingml.chart+xml"/>
  <Override PartName="/ppt/tags/tag132.xml" ContentType="application/vnd.openxmlformats-officedocument.presentationml.tags+xml"/>
  <Override PartName="/ppt/notesSlides/notesSlide105.xml" ContentType="application/vnd.openxmlformats-officedocument.presentationml.notesSlide+xml"/>
  <Override PartName="/ppt/charts/chart401.xml" ContentType="application/vnd.openxmlformats-officedocument.drawingml.chart+xml"/>
  <Override PartName="/ppt/charts/chart402.xml" ContentType="application/vnd.openxmlformats-officedocument.drawingml.chart+xml"/>
  <Override PartName="/ppt/tags/tag133.xml" ContentType="application/vnd.openxmlformats-officedocument.presentationml.tags+xml"/>
  <Override PartName="/ppt/notesSlides/notesSlide106.xml" ContentType="application/vnd.openxmlformats-officedocument.presentationml.notesSlide+xml"/>
  <Override PartName="/ppt/charts/chart403.xml" ContentType="application/vnd.openxmlformats-officedocument.drawingml.chart+xml"/>
  <Override PartName="/ppt/charts/chart404.xml" ContentType="application/vnd.openxmlformats-officedocument.drawingml.chart+xml"/>
  <Override PartName="/ppt/tags/tag134.xml" ContentType="application/vnd.openxmlformats-officedocument.presentationml.tags+xml"/>
  <Override PartName="/ppt/notesSlides/notesSlide107.xml" ContentType="application/vnd.openxmlformats-officedocument.presentationml.notesSlide+xml"/>
  <Override PartName="/ppt/charts/chart405.xml" ContentType="application/vnd.openxmlformats-officedocument.drawingml.chart+xml"/>
  <Override PartName="/ppt/charts/chart406.xml" ContentType="application/vnd.openxmlformats-officedocument.drawingml.chart+xml"/>
  <Override PartName="/ppt/tags/tag135.xml" ContentType="application/vnd.openxmlformats-officedocument.presentationml.tags+xml"/>
  <Override PartName="/ppt/notesSlides/notesSlide108.xml" ContentType="application/vnd.openxmlformats-officedocument.presentationml.notesSlide+xml"/>
  <Override PartName="/ppt/charts/chart407.xml" ContentType="application/vnd.openxmlformats-officedocument.drawingml.chart+xml"/>
  <Override PartName="/ppt/charts/chart408.xml" ContentType="application/vnd.openxmlformats-officedocument.drawingml.chart+xml"/>
  <Override PartName="/ppt/tags/tag136.xml" ContentType="application/vnd.openxmlformats-officedocument.presentationml.tags+xml"/>
  <Override PartName="/ppt/notesSlides/notesSlide109.xml" ContentType="application/vnd.openxmlformats-officedocument.presentationml.notesSlide+xml"/>
  <Override PartName="/ppt/charts/chart409.xml" ContentType="application/vnd.openxmlformats-officedocument.drawingml.chart+xml"/>
  <Override PartName="/ppt/charts/chart410.xml" ContentType="application/vnd.openxmlformats-officedocument.drawingml.chart+xml"/>
  <Override PartName="/ppt/tags/tag137.xml" ContentType="application/vnd.openxmlformats-officedocument.presentationml.tags+xml"/>
  <Override PartName="/ppt/notesSlides/notesSlide110.xml" ContentType="application/vnd.openxmlformats-officedocument.presentationml.notesSlide+xml"/>
  <Override PartName="/ppt/charts/chart411.xml" ContentType="application/vnd.openxmlformats-officedocument.drawingml.chart+xml"/>
  <Override PartName="/ppt/charts/chart412.xml" ContentType="application/vnd.openxmlformats-officedocument.drawingml.chart+xml"/>
  <Override PartName="/ppt/tags/tag138.xml" ContentType="application/vnd.openxmlformats-officedocument.presentationml.tags+xml"/>
  <Override PartName="/ppt/notesSlides/notesSlide111.xml" ContentType="application/vnd.openxmlformats-officedocument.presentationml.notesSlide+xml"/>
  <Override PartName="/ppt/charts/chart413.xml" ContentType="application/vnd.openxmlformats-officedocument.drawingml.chart+xml"/>
  <Override PartName="/ppt/charts/chart414.xml" ContentType="application/vnd.openxmlformats-officedocument.drawingml.chart+xml"/>
  <Override PartName="/ppt/tags/tag139.xml" ContentType="application/vnd.openxmlformats-officedocument.presentationml.tags+xml"/>
  <Override PartName="/ppt/notesSlides/notesSlide112.xml" ContentType="application/vnd.openxmlformats-officedocument.presentationml.notesSlide+xml"/>
  <Override PartName="/ppt/charts/chart415.xml" ContentType="application/vnd.openxmlformats-officedocument.drawingml.chart+xml"/>
  <Override PartName="/ppt/charts/chart416.xml" ContentType="application/vnd.openxmlformats-officedocument.drawingml.chart+xml"/>
  <Override PartName="/ppt/tags/tag140.xml" ContentType="application/vnd.openxmlformats-officedocument.presentationml.tags+xml"/>
  <Override PartName="/ppt/notesSlides/notesSlide113.xml" ContentType="application/vnd.openxmlformats-officedocument.presentationml.notesSlide+xml"/>
  <Override PartName="/ppt/charts/chart417.xml" ContentType="application/vnd.openxmlformats-officedocument.drawingml.chart+xml"/>
  <Override PartName="/ppt/charts/chart418.xml" ContentType="application/vnd.openxmlformats-officedocument.drawingml.chart+xml"/>
  <Override PartName="/ppt/tags/tag141.xml" ContentType="application/vnd.openxmlformats-officedocument.presentationml.tags+xml"/>
  <Override PartName="/ppt/notesSlides/notesSlide114.xml" ContentType="application/vnd.openxmlformats-officedocument.presentationml.notesSlide+xml"/>
  <Override PartName="/ppt/charts/chart419.xml" ContentType="application/vnd.openxmlformats-officedocument.drawingml.chart+xml"/>
  <Override PartName="/ppt/charts/chart420.xml" ContentType="application/vnd.openxmlformats-officedocument.drawingml.chart+xml"/>
  <Override PartName="/ppt/tags/tag142.xml" ContentType="application/vnd.openxmlformats-officedocument.presentationml.tags+xml"/>
  <Override PartName="/ppt/notesSlides/notesSlide115.xml" ContentType="application/vnd.openxmlformats-officedocument.presentationml.notesSlide+xml"/>
  <Override PartName="/ppt/charts/chart421.xml" ContentType="application/vnd.openxmlformats-officedocument.drawingml.chart+xml"/>
  <Override PartName="/ppt/charts/chart422.xml" ContentType="application/vnd.openxmlformats-officedocument.drawingml.chart+xml"/>
  <Override PartName="/ppt/tags/tag143.xml" ContentType="application/vnd.openxmlformats-officedocument.presentationml.tags+xml"/>
  <Override PartName="/ppt/notesSlides/notesSlide116.xml" ContentType="application/vnd.openxmlformats-officedocument.presentationml.notesSlide+xml"/>
  <Override PartName="/ppt/charts/chart423.xml" ContentType="application/vnd.openxmlformats-officedocument.drawingml.chart+xml"/>
  <Override PartName="/ppt/charts/chart424.xml" ContentType="application/vnd.openxmlformats-officedocument.drawingml.chart+xml"/>
  <Override PartName="/ppt/tags/tag144.xml" ContentType="application/vnd.openxmlformats-officedocument.presentationml.tags+xml"/>
  <Override PartName="/ppt/notesSlides/notesSlide117.xml" ContentType="application/vnd.openxmlformats-officedocument.presentationml.notesSlide+xml"/>
  <Override PartName="/ppt/charts/chart425.xml" ContentType="application/vnd.openxmlformats-officedocument.drawingml.chart+xml"/>
  <Override PartName="/ppt/charts/chart426.xml" ContentType="application/vnd.openxmlformats-officedocument.drawingml.chart+xml"/>
  <Override PartName="/ppt/tags/tag145.xml" ContentType="application/vnd.openxmlformats-officedocument.presentationml.tags+xml"/>
  <Override PartName="/ppt/notesSlides/notesSlide118.xml" ContentType="application/vnd.openxmlformats-officedocument.presentationml.notesSlide+xml"/>
  <Override PartName="/ppt/charts/chart427.xml" ContentType="application/vnd.openxmlformats-officedocument.drawingml.chart+xml"/>
  <Override PartName="/ppt/charts/chart428.xml" ContentType="application/vnd.openxmlformats-officedocument.drawingml.chart+xml"/>
  <Override PartName="/ppt/tags/tag146.xml" ContentType="application/vnd.openxmlformats-officedocument.presentationml.tags+xml"/>
  <Override PartName="/ppt/notesSlides/notesSlide119.xml" ContentType="application/vnd.openxmlformats-officedocument.presentationml.notesSlide+xml"/>
  <Override PartName="/ppt/charts/chart429.xml" ContentType="application/vnd.openxmlformats-officedocument.drawingml.chart+xml"/>
  <Override PartName="/ppt/charts/chart430.xml" ContentType="application/vnd.openxmlformats-officedocument.drawingml.chart+xml"/>
  <Override PartName="/ppt/tags/tag147.xml" ContentType="application/vnd.openxmlformats-officedocument.presentationml.tags+xml"/>
  <Override PartName="/ppt/notesSlides/notesSlide120.xml" ContentType="application/vnd.openxmlformats-officedocument.presentationml.notesSlide+xml"/>
  <Override PartName="/ppt/charts/chart431.xml" ContentType="application/vnd.openxmlformats-officedocument.drawingml.chart+xml"/>
  <Override PartName="/ppt/charts/chart432.xml" ContentType="application/vnd.openxmlformats-officedocument.drawingml.chart+xml"/>
  <Override PartName="/ppt/tags/tag148.xml" ContentType="application/vnd.openxmlformats-officedocument.presentationml.tags+xml"/>
  <Override PartName="/ppt/notesSlides/notesSlide121.xml" ContentType="application/vnd.openxmlformats-officedocument.presentationml.notesSlide+xml"/>
  <Override PartName="/ppt/charts/chart433.xml" ContentType="application/vnd.openxmlformats-officedocument.drawingml.chart+xml"/>
  <Override PartName="/ppt/charts/chart434.xml" ContentType="application/vnd.openxmlformats-officedocument.drawingml.chart+xml"/>
  <Override PartName="/ppt/tags/tag149.xml" ContentType="application/vnd.openxmlformats-officedocument.presentationml.tags+xml"/>
  <Override PartName="/ppt/notesSlides/notesSlide122.xml" ContentType="application/vnd.openxmlformats-officedocument.presentationml.notesSlide+xml"/>
  <Override PartName="/ppt/charts/chart435.xml" ContentType="application/vnd.openxmlformats-officedocument.drawingml.chart+xml"/>
  <Override PartName="/ppt/charts/chart436.xml" ContentType="application/vnd.openxmlformats-officedocument.drawingml.chart+xml"/>
  <Override PartName="/ppt/tags/tag150.xml" ContentType="application/vnd.openxmlformats-officedocument.presentationml.tags+xml"/>
  <Override PartName="/ppt/notesSlides/notesSlide123.xml" ContentType="application/vnd.openxmlformats-officedocument.presentationml.notesSlide+xml"/>
  <Override PartName="/ppt/charts/chart437.xml" ContentType="application/vnd.openxmlformats-officedocument.drawingml.chart+xml"/>
  <Override PartName="/ppt/charts/chart438.xml" ContentType="application/vnd.openxmlformats-officedocument.drawingml.chart+xml"/>
  <Override PartName="/ppt/tags/tag151.xml" ContentType="application/vnd.openxmlformats-officedocument.presentationml.tags+xml"/>
  <Override PartName="/ppt/notesSlides/notesSlide124.xml" ContentType="application/vnd.openxmlformats-officedocument.presentationml.notesSlide+xml"/>
  <Override PartName="/ppt/charts/chart439.xml" ContentType="application/vnd.openxmlformats-officedocument.drawingml.chart+xml"/>
  <Override PartName="/ppt/charts/chart440.xml" ContentType="application/vnd.openxmlformats-officedocument.drawingml.chart+xml"/>
  <Override PartName="/ppt/tags/tag152.xml" ContentType="application/vnd.openxmlformats-officedocument.presentationml.tags+xml"/>
  <Override PartName="/ppt/notesSlides/notesSlide125.xml" ContentType="application/vnd.openxmlformats-officedocument.presentationml.notesSlide+xml"/>
  <Override PartName="/ppt/charts/chart441.xml" ContentType="application/vnd.openxmlformats-officedocument.drawingml.chart+xml"/>
  <Override PartName="/ppt/charts/chart442.xml" ContentType="application/vnd.openxmlformats-officedocument.drawingml.chart+xml"/>
  <Override PartName="/ppt/tags/tag153.xml" ContentType="application/vnd.openxmlformats-officedocument.presentationml.tags+xml"/>
  <Override PartName="/ppt/notesSlides/notesSlide126.xml" ContentType="application/vnd.openxmlformats-officedocument.presentationml.notesSlide+xml"/>
  <Override PartName="/ppt/charts/chart443.xml" ContentType="application/vnd.openxmlformats-officedocument.drawingml.chart+xml"/>
  <Override PartName="/ppt/charts/chart444.xml" ContentType="application/vnd.openxmlformats-officedocument.drawingml.chart+xml"/>
  <Override PartName="/ppt/tags/tag154.xml" ContentType="application/vnd.openxmlformats-officedocument.presentationml.tags+xml"/>
  <Override PartName="/ppt/notesSlides/notesSlide127.xml" ContentType="application/vnd.openxmlformats-officedocument.presentationml.notesSlide+xml"/>
  <Override PartName="/ppt/charts/chart445.xml" ContentType="application/vnd.openxmlformats-officedocument.drawingml.chart+xml"/>
  <Override PartName="/ppt/charts/chart446.xml" ContentType="application/vnd.openxmlformats-officedocument.drawingml.chart+xml"/>
  <Override PartName="/ppt/tags/tag155.xml" ContentType="application/vnd.openxmlformats-officedocument.presentationml.tags+xml"/>
  <Override PartName="/ppt/notesSlides/notesSlide128.xml" ContentType="application/vnd.openxmlformats-officedocument.presentationml.notesSlide+xml"/>
  <Override PartName="/ppt/charts/chart447.xml" ContentType="application/vnd.openxmlformats-officedocument.drawingml.chart+xml"/>
  <Override PartName="/ppt/charts/chart448.xml" ContentType="application/vnd.openxmlformats-officedocument.drawingml.chart+xml"/>
  <Override PartName="/ppt/tags/tag156.xml" ContentType="application/vnd.openxmlformats-officedocument.presentationml.tags+xml"/>
  <Override PartName="/ppt/notesSlides/notesSlide129.xml" ContentType="application/vnd.openxmlformats-officedocument.presentationml.notesSlide+xml"/>
  <Override PartName="/ppt/charts/chart449.xml" ContentType="application/vnd.openxmlformats-officedocument.drawingml.chart+xml"/>
  <Override PartName="/ppt/charts/chart450.xml" ContentType="application/vnd.openxmlformats-officedocument.drawingml.chart+xml"/>
  <Override PartName="/ppt/tags/tag157.xml" ContentType="application/vnd.openxmlformats-officedocument.presentationml.tags+xml"/>
  <Override PartName="/ppt/notesSlides/notesSlide130.xml" ContentType="application/vnd.openxmlformats-officedocument.presentationml.notesSlide+xml"/>
  <Override PartName="/ppt/charts/chart451.xml" ContentType="application/vnd.openxmlformats-officedocument.drawingml.chart+xml"/>
  <Override PartName="/ppt/charts/chart452.xml" ContentType="application/vnd.openxmlformats-officedocument.drawingml.chart+xml"/>
  <Override PartName="/ppt/tags/tag158.xml" ContentType="application/vnd.openxmlformats-officedocument.presentationml.tags+xml"/>
  <Override PartName="/ppt/notesSlides/notesSlide131.xml" ContentType="application/vnd.openxmlformats-officedocument.presentationml.notesSlide+xml"/>
  <Override PartName="/ppt/charts/chart453.xml" ContentType="application/vnd.openxmlformats-officedocument.drawingml.chart+xml"/>
  <Override PartName="/ppt/charts/chart454.xml" ContentType="application/vnd.openxmlformats-officedocument.drawingml.chart+xml"/>
  <Override PartName="/ppt/tags/tag159.xml" ContentType="application/vnd.openxmlformats-officedocument.presentationml.tags+xml"/>
  <Override PartName="/ppt/notesSlides/notesSlide132.xml" ContentType="application/vnd.openxmlformats-officedocument.presentationml.notesSlide+xml"/>
  <Override PartName="/ppt/charts/chart455.xml" ContentType="application/vnd.openxmlformats-officedocument.drawingml.chart+xml"/>
  <Override PartName="/ppt/charts/chart456.xml" ContentType="application/vnd.openxmlformats-officedocument.drawingml.chart+xml"/>
  <Override PartName="/ppt/tags/tag160.xml" ContentType="application/vnd.openxmlformats-officedocument.presentationml.tags+xml"/>
  <Override PartName="/ppt/notesSlides/notesSlide133.xml" ContentType="application/vnd.openxmlformats-officedocument.presentationml.notesSlide+xml"/>
  <Override PartName="/ppt/charts/chart457.xml" ContentType="application/vnd.openxmlformats-officedocument.drawingml.chart+xml"/>
  <Override PartName="/ppt/charts/chart458.xml" ContentType="application/vnd.openxmlformats-officedocument.drawingml.chart+xml"/>
  <Override PartName="/ppt/tags/tag161.xml" ContentType="application/vnd.openxmlformats-officedocument.presentationml.tags+xml"/>
  <Override PartName="/ppt/notesSlides/notesSlide134.xml" ContentType="application/vnd.openxmlformats-officedocument.presentationml.notesSlide+xml"/>
  <Override PartName="/ppt/charts/chart459.xml" ContentType="application/vnd.openxmlformats-officedocument.drawingml.chart+xml"/>
  <Override PartName="/ppt/charts/chart460.xml" ContentType="application/vnd.openxmlformats-officedocument.drawingml.chart+xml"/>
  <Override PartName="/ppt/tags/tag162.xml" ContentType="application/vnd.openxmlformats-officedocument.presentationml.tags+xml"/>
  <Override PartName="/ppt/notesSlides/notesSlide135.xml" ContentType="application/vnd.openxmlformats-officedocument.presentationml.notesSlide+xml"/>
  <Override PartName="/ppt/charts/chart461.xml" ContentType="application/vnd.openxmlformats-officedocument.drawingml.chart+xml"/>
  <Override PartName="/ppt/charts/chart462.xml" ContentType="application/vnd.openxmlformats-officedocument.drawingml.chart+xml"/>
  <Override PartName="/ppt/tags/tag163.xml" ContentType="application/vnd.openxmlformats-officedocument.presentationml.tags+xml"/>
  <Override PartName="/ppt/notesSlides/notesSlide136.xml" ContentType="application/vnd.openxmlformats-officedocument.presentationml.notesSlide+xml"/>
  <Override PartName="/ppt/charts/chart463.xml" ContentType="application/vnd.openxmlformats-officedocument.drawingml.chart+xml"/>
  <Override PartName="/ppt/charts/chart464.xml" ContentType="application/vnd.openxmlformats-officedocument.drawingml.chart+xml"/>
  <Override PartName="/ppt/tags/tag164.xml" ContentType="application/vnd.openxmlformats-officedocument.presentationml.tags+xml"/>
  <Override PartName="/ppt/notesSlides/notesSlide137.xml" ContentType="application/vnd.openxmlformats-officedocument.presentationml.notesSlide+xml"/>
  <Override PartName="/ppt/charts/chart465.xml" ContentType="application/vnd.openxmlformats-officedocument.drawingml.chart+xml"/>
  <Override PartName="/ppt/charts/chart466.xml" ContentType="application/vnd.openxmlformats-officedocument.drawingml.chart+xml"/>
  <Override PartName="/ppt/tags/tag165.xml" ContentType="application/vnd.openxmlformats-officedocument.presentationml.tags+xml"/>
  <Override PartName="/ppt/notesSlides/notesSlide138.xml" ContentType="application/vnd.openxmlformats-officedocument.presentationml.notesSlide+xml"/>
  <Override PartName="/ppt/charts/chart467.xml" ContentType="application/vnd.openxmlformats-officedocument.drawingml.chart+xml"/>
  <Override PartName="/ppt/charts/chart468.xml" ContentType="application/vnd.openxmlformats-officedocument.drawingml.chart+xml"/>
  <Override PartName="/ppt/tags/tag166.xml" ContentType="application/vnd.openxmlformats-officedocument.presentationml.tags+xml"/>
  <Override PartName="/ppt/notesSlides/notesSlide139.xml" ContentType="application/vnd.openxmlformats-officedocument.presentationml.notesSlide+xml"/>
  <Override PartName="/ppt/charts/chart469.xml" ContentType="application/vnd.openxmlformats-officedocument.drawingml.chart+xml"/>
  <Override PartName="/ppt/charts/chart470.xml" ContentType="application/vnd.openxmlformats-officedocument.drawingml.chart+xml"/>
  <Override PartName="/ppt/tags/tag167.xml" ContentType="application/vnd.openxmlformats-officedocument.presentationml.tags+xml"/>
  <Override PartName="/ppt/notesSlides/notesSlide140.xml" ContentType="application/vnd.openxmlformats-officedocument.presentationml.notesSlide+xml"/>
  <Override PartName="/ppt/charts/chart471.xml" ContentType="application/vnd.openxmlformats-officedocument.drawingml.chart+xml"/>
  <Override PartName="/ppt/charts/chart472.xml" ContentType="application/vnd.openxmlformats-officedocument.drawingml.chart+xml"/>
  <Override PartName="/ppt/tags/tag168.xml" ContentType="application/vnd.openxmlformats-officedocument.presentationml.tags+xml"/>
  <Override PartName="/ppt/notesSlides/notesSlide141.xml" ContentType="application/vnd.openxmlformats-officedocument.presentationml.notesSlide+xml"/>
  <Override PartName="/ppt/charts/chart473.xml" ContentType="application/vnd.openxmlformats-officedocument.drawingml.chart+xml"/>
  <Override PartName="/ppt/charts/chart474.xml" ContentType="application/vnd.openxmlformats-officedocument.drawingml.chart+xml"/>
  <Override PartName="/ppt/tags/tag169.xml" ContentType="application/vnd.openxmlformats-officedocument.presentationml.tags+xml"/>
  <Override PartName="/ppt/notesSlides/notesSlide142.xml" ContentType="application/vnd.openxmlformats-officedocument.presentationml.notesSlide+xml"/>
  <Override PartName="/ppt/charts/chart475.xml" ContentType="application/vnd.openxmlformats-officedocument.drawingml.chart+xml"/>
  <Override PartName="/ppt/charts/chart476.xml" ContentType="application/vnd.openxmlformats-officedocument.drawingml.chart+xml"/>
  <Override PartName="/ppt/tags/tag170.xml" ContentType="application/vnd.openxmlformats-officedocument.presentationml.tags+xml"/>
  <Override PartName="/ppt/notesSlides/notesSlide143.xml" ContentType="application/vnd.openxmlformats-officedocument.presentationml.notesSlide+xml"/>
  <Override PartName="/ppt/charts/chart477.xml" ContentType="application/vnd.openxmlformats-officedocument.drawingml.chart+xml"/>
  <Override PartName="/ppt/charts/chart478.xml" ContentType="application/vnd.openxmlformats-officedocument.drawingml.chart+xml"/>
  <Override PartName="/ppt/tags/tag171.xml" ContentType="application/vnd.openxmlformats-officedocument.presentationml.tags+xml"/>
  <Override PartName="/ppt/notesSlides/notesSlide144.xml" ContentType="application/vnd.openxmlformats-officedocument.presentationml.notesSlide+xml"/>
  <Override PartName="/ppt/charts/chart479.xml" ContentType="application/vnd.openxmlformats-officedocument.drawingml.chart+xml"/>
  <Override PartName="/ppt/charts/chart480.xml" ContentType="application/vnd.openxmlformats-officedocument.drawingml.chart+xml"/>
  <Override PartName="/ppt/tags/tag172.xml" ContentType="application/vnd.openxmlformats-officedocument.presentationml.tags+xml"/>
  <Override PartName="/ppt/notesSlides/notesSlide145.xml" ContentType="application/vnd.openxmlformats-officedocument.presentationml.notesSlide+xml"/>
  <Override PartName="/ppt/charts/chart481.xml" ContentType="application/vnd.openxmlformats-officedocument.drawingml.chart+xml"/>
  <Override PartName="/ppt/charts/chart482.xml" ContentType="application/vnd.openxmlformats-officedocument.drawingml.chart+xml"/>
  <Override PartName="/ppt/tags/tag173.xml" ContentType="application/vnd.openxmlformats-officedocument.presentationml.tags+xml"/>
  <Override PartName="/ppt/notesSlides/notesSlide146.xml" ContentType="application/vnd.openxmlformats-officedocument.presentationml.notesSlide+xml"/>
  <Override PartName="/ppt/charts/chart483.xml" ContentType="application/vnd.openxmlformats-officedocument.drawingml.chart+xml"/>
  <Override PartName="/ppt/charts/chart484.xml" ContentType="application/vnd.openxmlformats-officedocument.drawingml.chart+xml"/>
  <Override PartName="/ppt/tags/tag174.xml" ContentType="application/vnd.openxmlformats-officedocument.presentationml.tags+xml"/>
  <Override PartName="/ppt/notesSlides/notesSlide147.xml" ContentType="application/vnd.openxmlformats-officedocument.presentationml.notesSlide+xml"/>
  <Override PartName="/ppt/charts/chart485.xml" ContentType="application/vnd.openxmlformats-officedocument.drawingml.chart+xml"/>
  <Override PartName="/ppt/charts/chart486.xml" ContentType="application/vnd.openxmlformats-officedocument.drawingml.chart+xml"/>
  <Override PartName="/ppt/tags/tag175.xml" ContentType="application/vnd.openxmlformats-officedocument.presentationml.tags+xml"/>
  <Override PartName="/ppt/notesSlides/notesSlide148.xml" ContentType="application/vnd.openxmlformats-officedocument.presentationml.notesSlide+xml"/>
  <Override PartName="/ppt/charts/chart487.xml" ContentType="application/vnd.openxmlformats-officedocument.drawingml.chart+xml"/>
  <Override PartName="/ppt/charts/chart488.xml" ContentType="application/vnd.openxmlformats-officedocument.drawingml.chart+xml"/>
  <Override PartName="/ppt/tags/tag176.xml" ContentType="application/vnd.openxmlformats-officedocument.presentationml.tags+xml"/>
  <Override PartName="/ppt/notesSlides/notesSlide149.xml" ContentType="application/vnd.openxmlformats-officedocument.presentationml.notesSlide+xml"/>
  <Override PartName="/ppt/charts/chart489.xml" ContentType="application/vnd.openxmlformats-officedocument.drawingml.chart+xml"/>
  <Override PartName="/ppt/charts/chart490.xml" ContentType="application/vnd.openxmlformats-officedocument.drawingml.chart+xml"/>
  <Override PartName="/ppt/tags/tag177.xml" ContentType="application/vnd.openxmlformats-officedocument.presentationml.tags+xml"/>
  <Override PartName="/ppt/notesSlides/notesSlide150.xml" ContentType="application/vnd.openxmlformats-officedocument.presentationml.notesSlide+xml"/>
  <Override PartName="/ppt/charts/chart491.xml" ContentType="application/vnd.openxmlformats-officedocument.drawingml.chart+xml"/>
  <Override PartName="/ppt/charts/chart492.xml" ContentType="application/vnd.openxmlformats-officedocument.drawingml.chart+xml"/>
  <Override PartName="/ppt/tags/tag178.xml" ContentType="application/vnd.openxmlformats-officedocument.presentationml.tags+xml"/>
  <Override PartName="/ppt/notesSlides/notesSlide151.xml" ContentType="application/vnd.openxmlformats-officedocument.presentationml.notesSlide+xml"/>
  <Override PartName="/ppt/charts/chart493.xml" ContentType="application/vnd.openxmlformats-officedocument.drawingml.chart+xml"/>
  <Override PartName="/ppt/charts/chart494.xml" ContentType="application/vnd.openxmlformats-officedocument.drawingml.chart+xml"/>
  <Override PartName="/ppt/tags/tag179.xml" ContentType="application/vnd.openxmlformats-officedocument.presentationml.tags+xml"/>
  <Override PartName="/ppt/notesSlides/notesSlide152.xml" ContentType="application/vnd.openxmlformats-officedocument.presentationml.notesSlide+xml"/>
  <Override PartName="/ppt/charts/chart495.xml" ContentType="application/vnd.openxmlformats-officedocument.drawingml.chart+xml"/>
  <Override PartName="/ppt/charts/chart496.xml" ContentType="application/vnd.openxmlformats-officedocument.drawingml.chart+xml"/>
  <Override PartName="/ppt/tags/tag180.xml" ContentType="application/vnd.openxmlformats-officedocument.presentationml.tags+xml"/>
  <Override PartName="/ppt/notesSlides/notesSlide153.xml" ContentType="application/vnd.openxmlformats-officedocument.presentationml.notesSlide+xml"/>
  <Override PartName="/ppt/charts/chart497.xml" ContentType="application/vnd.openxmlformats-officedocument.drawingml.chart+xml"/>
  <Override PartName="/ppt/charts/chart498.xml" ContentType="application/vnd.openxmlformats-officedocument.drawingml.chart+xml"/>
  <Override PartName="/ppt/tags/tag181.xml" ContentType="application/vnd.openxmlformats-officedocument.presentationml.tags+xml"/>
  <Override PartName="/ppt/notesSlides/notesSlide154.xml" ContentType="application/vnd.openxmlformats-officedocument.presentationml.notesSlide+xml"/>
  <Override PartName="/ppt/charts/chart499.xml" ContentType="application/vnd.openxmlformats-officedocument.drawingml.chart+xml"/>
  <Override PartName="/ppt/charts/chart500.xml" ContentType="application/vnd.openxmlformats-officedocument.drawingml.chart+xml"/>
  <Override PartName="/ppt/tags/tag182.xml" ContentType="application/vnd.openxmlformats-officedocument.presentationml.tags+xml"/>
  <Override PartName="/ppt/notesSlides/notesSlide155.xml" ContentType="application/vnd.openxmlformats-officedocument.presentationml.notesSlide+xml"/>
  <Override PartName="/ppt/charts/chart501.xml" ContentType="application/vnd.openxmlformats-officedocument.drawingml.chart+xml"/>
  <Override PartName="/ppt/charts/chart502.xml" ContentType="application/vnd.openxmlformats-officedocument.drawingml.chart+xml"/>
  <Override PartName="/ppt/tags/tag183.xml" ContentType="application/vnd.openxmlformats-officedocument.presentationml.tags+xml"/>
  <Override PartName="/ppt/notesSlides/notesSlide156.xml" ContentType="application/vnd.openxmlformats-officedocument.presentationml.notesSlide+xml"/>
  <Override PartName="/ppt/charts/chart503.xml" ContentType="application/vnd.openxmlformats-officedocument.drawingml.chart+xml"/>
  <Override PartName="/ppt/charts/chart504.xml" ContentType="application/vnd.openxmlformats-officedocument.drawingml.chart+xml"/>
  <Override PartName="/ppt/tags/tag184.xml" ContentType="application/vnd.openxmlformats-officedocument.presentationml.tags+xml"/>
  <Override PartName="/ppt/notesSlides/notesSlide157.xml" ContentType="application/vnd.openxmlformats-officedocument.presentationml.notesSlide+xml"/>
  <Override PartName="/ppt/charts/chart505.xml" ContentType="application/vnd.openxmlformats-officedocument.drawingml.chart+xml"/>
  <Override PartName="/ppt/charts/chart506.xml" ContentType="application/vnd.openxmlformats-officedocument.drawingml.chart+xml"/>
  <Override PartName="/ppt/tags/tag185.xml" ContentType="application/vnd.openxmlformats-officedocument.presentationml.tags+xml"/>
  <Override PartName="/ppt/notesSlides/notesSlide158.xml" ContentType="application/vnd.openxmlformats-officedocument.presentationml.notesSlide+xml"/>
  <Override PartName="/ppt/charts/chart507.xml" ContentType="application/vnd.openxmlformats-officedocument.drawingml.chart+xml"/>
  <Override PartName="/ppt/charts/chart508.xml" ContentType="application/vnd.openxmlformats-officedocument.drawingml.chart+xml"/>
  <Override PartName="/ppt/tags/tag186.xml" ContentType="application/vnd.openxmlformats-officedocument.presentationml.tags+xml"/>
  <Override PartName="/ppt/notesSlides/notesSlide159.xml" ContentType="application/vnd.openxmlformats-officedocument.presentationml.notesSlide+xml"/>
  <Override PartName="/ppt/charts/chart509.xml" ContentType="application/vnd.openxmlformats-officedocument.drawingml.chart+xml"/>
  <Override PartName="/ppt/charts/chart510.xml" ContentType="application/vnd.openxmlformats-officedocument.drawingml.chart+xml"/>
  <Override PartName="/ppt/tags/tag187.xml" ContentType="application/vnd.openxmlformats-officedocument.presentationml.tags+xml"/>
  <Override PartName="/ppt/notesSlides/notesSlide160.xml" ContentType="application/vnd.openxmlformats-officedocument.presentationml.notesSlide+xml"/>
  <Override PartName="/ppt/charts/chart511.xml" ContentType="application/vnd.openxmlformats-officedocument.drawingml.chart+xml"/>
  <Override PartName="/ppt/charts/chart512.xml" ContentType="application/vnd.openxmlformats-officedocument.drawingml.chart+xml"/>
  <Override PartName="/ppt/tags/tag188.xml" ContentType="application/vnd.openxmlformats-officedocument.presentationml.tags+xml"/>
  <Override PartName="/ppt/notesSlides/notesSlide161.xml" ContentType="application/vnd.openxmlformats-officedocument.presentationml.notesSlide+xml"/>
  <Override PartName="/ppt/charts/chart513.xml" ContentType="application/vnd.openxmlformats-officedocument.drawingml.chart+xml"/>
  <Override PartName="/ppt/charts/chart514.xml" ContentType="application/vnd.openxmlformats-officedocument.drawingml.chart+xml"/>
  <Override PartName="/ppt/tags/tag189.xml" ContentType="application/vnd.openxmlformats-officedocument.presentationml.tags+xml"/>
  <Override PartName="/ppt/notesSlides/notesSlide162.xml" ContentType="application/vnd.openxmlformats-officedocument.presentationml.notesSlide+xml"/>
  <Override PartName="/ppt/charts/chart515.xml" ContentType="application/vnd.openxmlformats-officedocument.drawingml.chart+xml"/>
  <Override PartName="/ppt/charts/chart516.xml" ContentType="application/vnd.openxmlformats-officedocument.drawingml.chart+xml"/>
  <Override PartName="/ppt/tags/tag190.xml" ContentType="application/vnd.openxmlformats-officedocument.presentationml.tags+xml"/>
  <Override PartName="/ppt/notesSlides/notesSlide163.xml" ContentType="application/vnd.openxmlformats-officedocument.presentationml.notesSlide+xml"/>
  <Override PartName="/ppt/charts/chart517.xml" ContentType="application/vnd.openxmlformats-officedocument.drawingml.chart+xml"/>
  <Override PartName="/ppt/charts/chart518.xml" ContentType="application/vnd.openxmlformats-officedocument.drawingml.chart+xml"/>
  <Override PartName="/ppt/tags/tag191.xml" ContentType="application/vnd.openxmlformats-officedocument.presentationml.tags+xml"/>
  <Override PartName="/ppt/notesSlides/notesSlide164.xml" ContentType="application/vnd.openxmlformats-officedocument.presentationml.notesSlide+xml"/>
  <Override PartName="/ppt/charts/chart519.xml" ContentType="application/vnd.openxmlformats-officedocument.drawingml.chart+xml"/>
  <Override PartName="/ppt/charts/chart520.xml" ContentType="application/vnd.openxmlformats-officedocument.drawingml.chart+xml"/>
  <Override PartName="/ppt/tags/tag192.xml" ContentType="application/vnd.openxmlformats-officedocument.presentationml.tags+xml"/>
  <Override PartName="/ppt/notesSlides/notesSlide165.xml" ContentType="application/vnd.openxmlformats-officedocument.presentationml.notesSlide+xml"/>
  <Override PartName="/ppt/charts/chart521.xml" ContentType="application/vnd.openxmlformats-officedocument.drawingml.chart+xml"/>
  <Override PartName="/ppt/charts/chart522.xml" ContentType="application/vnd.openxmlformats-officedocument.drawingml.chart+xml"/>
  <Override PartName="/ppt/tags/tag193.xml" ContentType="application/vnd.openxmlformats-officedocument.presentationml.tags+xml"/>
  <Override PartName="/ppt/notesSlides/notesSlide166.xml" ContentType="application/vnd.openxmlformats-officedocument.presentationml.notesSlide+xml"/>
  <Override PartName="/ppt/charts/chart523.xml" ContentType="application/vnd.openxmlformats-officedocument.drawingml.chart+xml"/>
  <Override PartName="/ppt/charts/chart524.xml" ContentType="application/vnd.openxmlformats-officedocument.drawingml.chart+xml"/>
  <Override PartName="/ppt/tags/tag194.xml" ContentType="application/vnd.openxmlformats-officedocument.presentationml.tags+xml"/>
  <Override PartName="/ppt/notesSlides/notesSlide167.xml" ContentType="application/vnd.openxmlformats-officedocument.presentationml.notesSlide+xml"/>
  <Override PartName="/ppt/charts/chart525.xml" ContentType="application/vnd.openxmlformats-officedocument.drawingml.chart+xml"/>
  <Override PartName="/ppt/charts/chart526.xml" ContentType="application/vnd.openxmlformats-officedocument.drawingml.chart+xml"/>
  <Override PartName="/ppt/tags/tag195.xml" ContentType="application/vnd.openxmlformats-officedocument.presentationml.tags+xml"/>
  <Override PartName="/ppt/notesSlides/notesSlide168.xml" ContentType="application/vnd.openxmlformats-officedocument.presentationml.notesSlide+xml"/>
  <Override PartName="/ppt/charts/chart527.xml" ContentType="application/vnd.openxmlformats-officedocument.drawingml.chart+xml"/>
  <Override PartName="/ppt/charts/chart528.xml" ContentType="application/vnd.openxmlformats-officedocument.drawingml.chart+xml"/>
  <Override PartName="/ppt/tags/tag196.xml" ContentType="application/vnd.openxmlformats-officedocument.presentationml.tags+xml"/>
  <Override PartName="/ppt/notesSlides/notesSlide169.xml" ContentType="application/vnd.openxmlformats-officedocument.presentationml.notesSlide+xml"/>
  <Override PartName="/ppt/charts/chart529.xml" ContentType="application/vnd.openxmlformats-officedocument.drawingml.chart+xml"/>
  <Override PartName="/ppt/charts/chart530.xml" ContentType="application/vnd.openxmlformats-officedocument.drawingml.chart+xml"/>
  <Override PartName="/ppt/tags/tag197.xml" ContentType="application/vnd.openxmlformats-officedocument.presentationml.tags+xml"/>
  <Override PartName="/ppt/notesSlides/notesSlide170.xml" ContentType="application/vnd.openxmlformats-officedocument.presentationml.notesSlide+xml"/>
  <Override PartName="/ppt/charts/chart531.xml" ContentType="application/vnd.openxmlformats-officedocument.drawingml.chart+xml"/>
  <Override PartName="/ppt/charts/chart532.xml" ContentType="application/vnd.openxmlformats-officedocument.drawingml.chart+xml"/>
  <Override PartName="/ppt/tags/tag198.xml" ContentType="application/vnd.openxmlformats-officedocument.presentationml.tags+xml"/>
  <Override PartName="/ppt/notesSlides/notesSlide171.xml" ContentType="application/vnd.openxmlformats-officedocument.presentationml.notesSlide+xml"/>
  <Override PartName="/ppt/charts/chart533.xml" ContentType="application/vnd.openxmlformats-officedocument.drawingml.chart+xml"/>
  <Override PartName="/ppt/charts/chart534.xml" ContentType="application/vnd.openxmlformats-officedocument.drawingml.chart+xml"/>
  <Override PartName="/ppt/tags/tag199.xml" ContentType="application/vnd.openxmlformats-officedocument.presentationml.tags+xml"/>
  <Override PartName="/ppt/notesSlides/notesSlide172.xml" ContentType="application/vnd.openxmlformats-officedocument.presentationml.notesSlide+xml"/>
  <Override PartName="/ppt/charts/chart535.xml" ContentType="application/vnd.openxmlformats-officedocument.drawingml.chart+xml"/>
  <Override PartName="/ppt/charts/chart536.xml" ContentType="application/vnd.openxmlformats-officedocument.drawingml.chart+xml"/>
  <Override PartName="/ppt/tags/tag200.xml" ContentType="application/vnd.openxmlformats-officedocument.presentationml.tags+xml"/>
  <Override PartName="/ppt/notesSlides/notesSlide173.xml" ContentType="application/vnd.openxmlformats-officedocument.presentationml.notesSlide+xml"/>
  <Override PartName="/ppt/charts/chart537.xml" ContentType="application/vnd.openxmlformats-officedocument.drawingml.chart+xml"/>
  <Override PartName="/ppt/charts/chart538.xml" ContentType="application/vnd.openxmlformats-officedocument.drawingml.chart+xml"/>
  <Override PartName="/ppt/tags/tag201.xml" ContentType="application/vnd.openxmlformats-officedocument.presentationml.tags+xml"/>
  <Override PartName="/ppt/notesSlides/notesSlide174.xml" ContentType="application/vnd.openxmlformats-officedocument.presentationml.notesSlide+xml"/>
  <Override PartName="/ppt/charts/chart539.xml" ContentType="application/vnd.openxmlformats-officedocument.drawingml.chart+xml"/>
  <Override PartName="/ppt/charts/chart540.xml" ContentType="application/vnd.openxmlformats-officedocument.drawingml.chart+xml"/>
  <Override PartName="/ppt/tags/tag202.xml" ContentType="application/vnd.openxmlformats-officedocument.presentationml.tags+xml"/>
  <Override PartName="/ppt/notesSlides/notesSlide175.xml" ContentType="application/vnd.openxmlformats-officedocument.presentationml.notesSlide+xml"/>
  <Override PartName="/ppt/charts/chart541.xml" ContentType="application/vnd.openxmlformats-officedocument.drawingml.chart+xml"/>
  <Override PartName="/ppt/charts/chart542.xml" ContentType="application/vnd.openxmlformats-officedocument.drawingml.chart+xml"/>
  <Override PartName="/ppt/tags/tag203.xml" ContentType="application/vnd.openxmlformats-officedocument.presentationml.tags+xml"/>
  <Override PartName="/ppt/notesSlides/notesSlide176.xml" ContentType="application/vnd.openxmlformats-officedocument.presentationml.notesSlide+xml"/>
  <Override PartName="/ppt/charts/chart543.xml" ContentType="application/vnd.openxmlformats-officedocument.drawingml.chart+xml"/>
  <Override PartName="/ppt/charts/chart544.xml" ContentType="application/vnd.openxmlformats-officedocument.drawingml.chart+xml"/>
  <Override PartName="/ppt/tags/tag204.xml" ContentType="application/vnd.openxmlformats-officedocument.presentationml.tags+xml"/>
  <Override PartName="/ppt/notesSlides/notesSlide177.xml" ContentType="application/vnd.openxmlformats-officedocument.presentationml.notesSlide+xml"/>
  <Override PartName="/ppt/charts/chart545.xml" ContentType="application/vnd.openxmlformats-officedocument.drawingml.chart+xml"/>
  <Override PartName="/ppt/charts/chart546.xml" ContentType="application/vnd.openxmlformats-officedocument.drawingml.chart+xml"/>
  <Override PartName="/ppt/tags/tag205.xml" ContentType="application/vnd.openxmlformats-officedocument.presentationml.tags+xml"/>
  <Override PartName="/ppt/notesSlides/notesSlide178.xml" ContentType="application/vnd.openxmlformats-officedocument.presentationml.notesSlide+xml"/>
  <Override PartName="/ppt/charts/chart547.xml" ContentType="application/vnd.openxmlformats-officedocument.drawingml.chart+xml"/>
  <Override PartName="/ppt/charts/chart548.xml" ContentType="application/vnd.openxmlformats-officedocument.drawingml.chart+xml"/>
  <Override PartName="/ppt/tags/tag206.xml" ContentType="application/vnd.openxmlformats-officedocument.presentationml.tags+xml"/>
  <Override PartName="/ppt/notesSlides/notesSlide179.xml" ContentType="application/vnd.openxmlformats-officedocument.presentationml.notesSlide+xml"/>
  <Override PartName="/ppt/charts/chart549.xml" ContentType="application/vnd.openxmlformats-officedocument.drawingml.chart+xml"/>
  <Override PartName="/ppt/charts/chart550.xml" ContentType="application/vnd.openxmlformats-officedocument.drawingml.chart+xml"/>
  <Override PartName="/ppt/tags/tag207.xml" ContentType="application/vnd.openxmlformats-officedocument.presentationml.tags+xml"/>
  <Override PartName="/ppt/notesSlides/notesSlide180.xml" ContentType="application/vnd.openxmlformats-officedocument.presentationml.notesSlide+xml"/>
  <Override PartName="/ppt/charts/chart551.xml" ContentType="application/vnd.openxmlformats-officedocument.drawingml.chart+xml"/>
  <Override PartName="/ppt/charts/chart552.xml" ContentType="application/vnd.openxmlformats-officedocument.drawingml.chart+xml"/>
  <Override PartName="/ppt/tags/tag208.xml" ContentType="application/vnd.openxmlformats-officedocument.presentationml.tags+xml"/>
  <Override PartName="/ppt/notesSlides/notesSlide181.xml" ContentType="application/vnd.openxmlformats-officedocument.presentationml.notesSlide+xml"/>
  <Override PartName="/ppt/charts/chart553.xml" ContentType="application/vnd.openxmlformats-officedocument.drawingml.chart+xml"/>
  <Override PartName="/ppt/charts/chart554.xml" ContentType="application/vnd.openxmlformats-officedocument.drawingml.chart+xml"/>
  <Override PartName="/ppt/tags/tag209.xml" ContentType="application/vnd.openxmlformats-officedocument.presentationml.tags+xml"/>
  <Override PartName="/ppt/notesSlides/notesSlide182.xml" ContentType="application/vnd.openxmlformats-officedocument.presentationml.notesSlide+xml"/>
  <Override PartName="/ppt/charts/chart555.xml" ContentType="application/vnd.openxmlformats-officedocument.drawingml.chart+xml"/>
  <Override PartName="/ppt/charts/chart556.xml" ContentType="application/vnd.openxmlformats-officedocument.drawingml.chart+xml"/>
  <Override PartName="/ppt/tags/tag210.xml" ContentType="application/vnd.openxmlformats-officedocument.presentationml.tags+xml"/>
  <Override PartName="/ppt/notesSlides/notesSlide183.xml" ContentType="application/vnd.openxmlformats-officedocument.presentationml.notesSlide+xml"/>
  <Override PartName="/ppt/charts/chart557.xml" ContentType="application/vnd.openxmlformats-officedocument.drawingml.chart+xml"/>
  <Override PartName="/ppt/charts/chart558.xml" ContentType="application/vnd.openxmlformats-officedocument.drawingml.chart+xml"/>
  <Override PartName="/ppt/tags/tag211.xml" ContentType="application/vnd.openxmlformats-officedocument.presentationml.tags+xml"/>
  <Override PartName="/ppt/notesSlides/notesSlide184.xml" ContentType="application/vnd.openxmlformats-officedocument.presentationml.notesSlide+xml"/>
  <Override PartName="/ppt/charts/chart559.xml" ContentType="application/vnd.openxmlformats-officedocument.drawingml.chart+xml"/>
  <Override PartName="/ppt/charts/chart560.xml" ContentType="application/vnd.openxmlformats-officedocument.drawingml.chart+xml"/>
  <Override PartName="/ppt/tags/tag212.xml" ContentType="application/vnd.openxmlformats-officedocument.presentationml.tags+xml"/>
  <Override PartName="/ppt/notesSlides/notesSlide185.xml" ContentType="application/vnd.openxmlformats-officedocument.presentationml.notesSlide+xml"/>
  <Override PartName="/ppt/charts/chart561.xml" ContentType="application/vnd.openxmlformats-officedocument.drawingml.chart+xml"/>
  <Override PartName="/ppt/charts/chart562.xml" ContentType="application/vnd.openxmlformats-officedocument.drawingml.chart+xml"/>
  <Override PartName="/ppt/tags/tag213.xml" ContentType="application/vnd.openxmlformats-officedocument.presentationml.tags+xml"/>
  <Override PartName="/ppt/notesSlides/notesSlide186.xml" ContentType="application/vnd.openxmlformats-officedocument.presentationml.notesSlide+xml"/>
  <Override PartName="/ppt/charts/chart563.xml" ContentType="application/vnd.openxmlformats-officedocument.drawingml.chart+xml"/>
  <Override PartName="/ppt/charts/chart564.xml" ContentType="application/vnd.openxmlformats-officedocument.drawingml.chart+xml"/>
  <Override PartName="/ppt/tags/tag214.xml" ContentType="application/vnd.openxmlformats-officedocument.presentationml.tags+xml"/>
  <Override PartName="/ppt/notesSlides/notesSlide187.xml" ContentType="application/vnd.openxmlformats-officedocument.presentationml.notesSlide+xml"/>
  <Override PartName="/ppt/charts/chart565.xml" ContentType="application/vnd.openxmlformats-officedocument.drawingml.chart+xml"/>
  <Override PartName="/ppt/charts/chart566.xml" ContentType="application/vnd.openxmlformats-officedocument.drawingml.chart+xml"/>
  <Override PartName="/ppt/tags/tag215.xml" ContentType="application/vnd.openxmlformats-officedocument.presentationml.tags+xml"/>
  <Override PartName="/ppt/notesSlides/notesSlide188.xml" ContentType="application/vnd.openxmlformats-officedocument.presentationml.notesSlide+xml"/>
  <Override PartName="/ppt/charts/chart567.xml" ContentType="application/vnd.openxmlformats-officedocument.drawingml.chart+xml"/>
  <Override PartName="/ppt/charts/chart568.xml" ContentType="application/vnd.openxmlformats-officedocument.drawingml.chart+xml"/>
  <Override PartName="/ppt/tags/tag216.xml" ContentType="application/vnd.openxmlformats-officedocument.presentationml.tags+xml"/>
  <Override PartName="/ppt/notesSlides/notesSlide189.xml" ContentType="application/vnd.openxmlformats-officedocument.presentationml.notesSlide+xml"/>
  <Override PartName="/ppt/charts/chart569.xml" ContentType="application/vnd.openxmlformats-officedocument.drawingml.chart+xml"/>
  <Override PartName="/ppt/charts/chart570.xml" ContentType="application/vnd.openxmlformats-officedocument.drawingml.chart+xml"/>
  <Override PartName="/ppt/tags/tag217.xml" ContentType="application/vnd.openxmlformats-officedocument.presentationml.tags+xml"/>
  <Override PartName="/ppt/notesSlides/notesSlide190.xml" ContentType="application/vnd.openxmlformats-officedocument.presentationml.notesSlide+xml"/>
  <Override PartName="/ppt/charts/chart571.xml" ContentType="application/vnd.openxmlformats-officedocument.drawingml.chart+xml"/>
  <Override PartName="/ppt/charts/chart572.xml" ContentType="application/vnd.openxmlformats-officedocument.drawingml.chart+xml"/>
  <Override PartName="/ppt/tags/tag218.xml" ContentType="application/vnd.openxmlformats-officedocument.presentationml.tags+xml"/>
  <Override PartName="/ppt/notesSlides/notesSlide191.xml" ContentType="application/vnd.openxmlformats-officedocument.presentationml.notesSlide+xml"/>
  <Override PartName="/ppt/charts/chart573.xml" ContentType="application/vnd.openxmlformats-officedocument.drawingml.chart+xml"/>
  <Override PartName="/ppt/charts/chart574.xml" ContentType="application/vnd.openxmlformats-officedocument.drawingml.chart+xml"/>
  <Override PartName="/ppt/tags/tag219.xml" ContentType="application/vnd.openxmlformats-officedocument.presentationml.tags+xml"/>
  <Override PartName="/ppt/notesSlides/notesSlide192.xml" ContentType="application/vnd.openxmlformats-officedocument.presentationml.notesSlide+xml"/>
  <Override PartName="/ppt/charts/chart575.xml" ContentType="application/vnd.openxmlformats-officedocument.drawingml.chart+xml"/>
  <Override PartName="/ppt/charts/chart576.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97"/>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 id="2147475231" r:id="rId65"/>
    <p:sldId id="2147475232" r:id="rId66"/>
    <p:sldId id="2147475233" r:id="rId67"/>
    <p:sldId id="2147475234" r:id="rId68"/>
    <p:sldId id="2147475235" r:id="rId69"/>
    <p:sldId id="2147475236" r:id="rId70"/>
    <p:sldId id="2147475237" r:id="rId71"/>
    <p:sldId id="2147475238" r:id="rId72"/>
    <p:sldId id="2147475239" r:id="rId73"/>
    <p:sldId id="2147475240" r:id="rId74"/>
    <p:sldId id="2147475241" r:id="rId75"/>
    <p:sldId id="2147475242" r:id="rId76"/>
    <p:sldId id="2147475243" r:id="rId77"/>
    <p:sldId id="2147475244" r:id="rId78"/>
    <p:sldId id="2147475245" r:id="rId79"/>
    <p:sldId id="2147475246" r:id="rId80"/>
    <p:sldId id="2147475247" r:id="rId81"/>
    <p:sldId id="2147475248" r:id="rId82"/>
    <p:sldId id="2147475249" r:id="rId83"/>
    <p:sldId id="2147475250" r:id="rId84"/>
    <p:sldId id="2147475251" r:id="rId85"/>
    <p:sldId id="2147475252" r:id="rId86"/>
    <p:sldId id="2147475253" r:id="rId87"/>
    <p:sldId id="2147475254" r:id="rId88"/>
    <p:sldId id="2147475255" r:id="rId89"/>
    <p:sldId id="2147475256" r:id="rId90"/>
    <p:sldId id="2147475257" r:id="rId91"/>
    <p:sldId id="2147475258" r:id="rId92"/>
    <p:sldId id="2147475259" r:id="rId93"/>
    <p:sldId id="2147475260" r:id="rId94"/>
    <p:sldId id="2147475261" r:id="rId95"/>
    <p:sldId id="2147475262" r:id="rId96"/>
    <p:sldId id="2147475263" r:id="rId97"/>
    <p:sldId id="2147475264" r:id="rId98"/>
    <p:sldId id="2147475265" r:id="rId99"/>
    <p:sldId id="2147475266" r:id="rId100"/>
    <p:sldId id="2147475267" r:id="rId101"/>
    <p:sldId id="2147475268" r:id="rId102"/>
    <p:sldId id="2147475269" r:id="rId103"/>
    <p:sldId id="2147475270" r:id="rId104"/>
    <p:sldId id="2147475271" r:id="rId105"/>
    <p:sldId id="2147475272" r:id="rId106"/>
    <p:sldId id="2147475273" r:id="rId107"/>
    <p:sldId id="2147475274" r:id="rId108"/>
    <p:sldId id="2147475275" r:id="rId109"/>
    <p:sldId id="2147475276" r:id="rId110"/>
    <p:sldId id="2147475277" r:id="rId111"/>
    <p:sldId id="2147475278" r:id="rId112"/>
    <p:sldId id="2147475279" r:id="rId113"/>
    <p:sldId id="2147475280" r:id="rId114"/>
    <p:sldId id="2147475281" r:id="rId115"/>
    <p:sldId id="2147475282" r:id="rId116"/>
    <p:sldId id="2147475283" r:id="rId117"/>
    <p:sldId id="2147475284" r:id="rId118"/>
    <p:sldId id="2147475285" r:id="rId119"/>
    <p:sldId id="2147475286" r:id="rId120"/>
    <p:sldId id="2147475287" r:id="rId121"/>
    <p:sldId id="2147475288" r:id="rId122"/>
    <p:sldId id="2147475289" r:id="rId123"/>
    <p:sldId id="2147475290" r:id="rId124"/>
    <p:sldId id="2147475291" r:id="rId125"/>
    <p:sldId id="2147475292" r:id="rId126"/>
    <p:sldId id="2147475293" r:id="rId127"/>
    <p:sldId id="2147475294" r:id="rId128"/>
    <p:sldId id="2147475295" r:id="rId129"/>
    <p:sldId id="2147475296" r:id="rId130"/>
    <p:sldId id="2147475297" r:id="rId131"/>
    <p:sldId id="2147475298" r:id="rId132"/>
    <p:sldId id="2147475299" r:id="rId133"/>
    <p:sldId id="2147475300" r:id="rId134"/>
    <p:sldId id="2147475301" r:id="rId135"/>
    <p:sldId id="2147475302" r:id="rId136"/>
    <p:sldId id="2147475303" r:id="rId137"/>
    <p:sldId id="2147475304" r:id="rId138"/>
    <p:sldId id="2147475305" r:id="rId139"/>
    <p:sldId id="2147475306" r:id="rId140"/>
    <p:sldId id="2147475307" r:id="rId141"/>
    <p:sldId id="2147475308" r:id="rId142"/>
    <p:sldId id="2147475309" r:id="rId143"/>
    <p:sldId id="2147475310" r:id="rId144"/>
    <p:sldId id="2147475311" r:id="rId145"/>
    <p:sldId id="2147475312" r:id="rId146"/>
    <p:sldId id="2147475313" r:id="rId147"/>
    <p:sldId id="2147475314" r:id="rId148"/>
    <p:sldId id="2147475315" r:id="rId149"/>
    <p:sldId id="2147475316" r:id="rId150"/>
    <p:sldId id="2147475317" r:id="rId151"/>
    <p:sldId id="2147475318" r:id="rId152"/>
    <p:sldId id="2147475319" r:id="rId153"/>
    <p:sldId id="2147475320" r:id="rId154"/>
    <p:sldId id="2147475321" r:id="rId155"/>
    <p:sldId id="2147475322" r:id="rId156"/>
    <p:sldId id="2147475323" r:id="rId157"/>
    <p:sldId id="2147475324" r:id="rId158"/>
    <p:sldId id="2147475325" r:id="rId159"/>
    <p:sldId id="2147475326" r:id="rId160"/>
    <p:sldId id="2147475327" r:id="rId161"/>
    <p:sldId id="2147475328" r:id="rId162"/>
    <p:sldId id="2147475329" r:id="rId163"/>
    <p:sldId id="2147475330" r:id="rId164"/>
    <p:sldId id="2147475331" r:id="rId165"/>
    <p:sldId id="2147475332" r:id="rId166"/>
    <p:sldId id="2147475333" r:id="rId167"/>
    <p:sldId id="2147475334" r:id="rId168"/>
    <p:sldId id="2147475335" r:id="rId169"/>
    <p:sldId id="2147475336" r:id="rId170"/>
    <p:sldId id="2147475337" r:id="rId171"/>
    <p:sldId id="2147475338" r:id="rId172"/>
    <p:sldId id="2147475339" r:id="rId173"/>
    <p:sldId id="2147475340" r:id="rId174"/>
    <p:sldId id="2147475341" r:id="rId175"/>
    <p:sldId id="2147475342" r:id="rId176"/>
    <p:sldId id="2147475343" r:id="rId177"/>
    <p:sldId id="2147475344" r:id="rId178"/>
    <p:sldId id="2147475345" r:id="rId179"/>
    <p:sldId id="2147475346" r:id="rId180"/>
    <p:sldId id="2147475347" r:id="rId181"/>
    <p:sldId id="2147475348" r:id="rId182"/>
    <p:sldId id="2147475349" r:id="rId183"/>
    <p:sldId id="2147475350" r:id="rId184"/>
    <p:sldId id="2147475351" r:id="rId185"/>
    <p:sldId id="2147475352" r:id="rId186"/>
    <p:sldId id="2147475353" r:id="rId187"/>
    <p:sldId id="2147475354" r:id="rId188"/>
    <p:sldId id="2147475355" r:id="rId189"/>
    <p:sldId id="2147475356" r:id="rId190"/>
    <p:sldId id="2147475357" r:id="rId191"/>
    <p:sldId id="2147475358" r:id="rId192"/>
    <p:sldId id="2147475359" r:id="rId193"/>
    <p:sldId id="2147475360" r:id="rId194"/>
    <p:sldId id="2147475361" r:id="rId195"/>
    <p:sldId id="2147475362" r:id="rId19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hannel By Category" id="{6E1FB0E4-B743-46BC-AED1-E432C8E03483}">
          <p14:sldIdLst>
            <p14:sldId id="2147475171"/>
            <p14:sldId id="2147475172"/>
            <p14:sldId id="2147475173"/>
            <p14:sldId id="2147475174"/>
            <p14:sldId id="2147475175"/>
            <p14:sldId id="2147475176"/>
          </p14:sldIdLst>
        </p14:section>
        <p14:section name="Brackets By Channel By Sector" id="{555D9DB0-5E20-4781-9A3B-32D147AA5EDF}">
          <p14:sldIdLst>
            <p14:sldId id="2147475177"/>
            <p14:sldId id="2147475178"/>
            <p14:sldId id="2147475179"/>
            <p14:sldId id="2147475180"/>
            <p14:sldId id="2147475181"/>
            <p14:sldId id="2147475182"/>
          </p14:sldIdLst>
        </p14:section>
        <p14:section name="Brackets By Channel By Segment" id="{98F66DA1-4B8B-4242-BFBB-4CD6BC79DE15}">
          <p14:sldIdLst>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Lst>
        </p14:section>
        <p14:section name="Brackets By AUTOS SCANNING By Category" id="{4DD2913A-A9DC-4D4D-B2FC-1141EFA807CD}">
          <p14:sldIdLst>
            <p14:sldId id="2147475267"/>
            <p14:sldId id="2147475268"/>
            <p14:sldId id="2147475269"/>
            <p14:sldId id="2147475270"/>
            <p14:sldId id="2147475271"/>
            <p14:sldId id="2147475272"/>
          </p14:sldIdLst>
        </p14:section>
        <p14:section name="Brackets By AUTOS SCANNING By Sector" id="{6962AC20-C735-4223-B1FE-A29F1D35A541}">
          <p14:sldIdLst>
            <p14:sldId id="2147475273"/>
            <p14:sldId id="2147475274"/>
            <p14:sldId id="2147475275"/>
            <p14:sldId id="2147475276"/>
            <p14:sldId id="2147475277"/>
            <p14:sldId id="2147475278"/>
          </p14:sldIdLst>
        </p14:section>
        <p14:section name="Brackets By AUTOS SCANNING By Segment" id="{E2E9D912-C016-43F0-9482-FE49BDA77C6A}">
          <p14:sldIdLst>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199" Type="http://schemas.openxmlformats.org/officeDocument/2006/relationships/viewProps" Target="viewProps.xml"/><Relationship Id="rId203"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189" Type="http://schemas.openxmlformats.org/officeDocument/2006/relationships/slide" Target="slides/slide185.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190" Type="http://schemas.openxmlformats.org/officeDocument/2006/relationships/slide" Target="slides/slide186.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theme" Target="theme/theme1.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notesMaster" Target="notesMasters/notesMaster1.xml"/><Relationship Id="rId201" Type="http://schemas.openxmlformats.org/officeDocument/2006/relationships/tableStyles" Target="tableStyle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presProps" Target="presProps.xml"/><Relationship Id="rId202" Type="http://schemas.microsoft.com/office/2015/10/relationships/revisionInfo" Target="revisionInfo.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openxmlformats.org/officeDocument/2006/relationships/package" Target="../embeddings/Microsoft_Excel_Worksheet564.xlsx"/></Relationships>
</file>

<file path=ppt/charts/_rels/chart566.xml.rels><?xml version="1.0" encoding="UTF-8" standalone="yes"?>
<Relationships xmlns="http://schemas.openxmlformats.org/package/2006/relationships"><Relationship Id="rId1" Type="http://schemas.openxmlformats.org/officeDocument/2006/relationships/package" Target="../embeddings/Microsoft_Excel_Worksheet565.xlsx"/></Relationships>
</file>

<file path=ppt/charts/_rels/chart567.xml.rels><?xml version="1.0" encoding="UTF-8" standalone="yes"?>
<Relationships xmlns="http://schemas.openxmlformats.org/package/2006/relationships"><Relationship Id="rId1" Type="http://schemas.openxmlformats.org/officeDocument/2006/relationships/package" Target="../embeddings/Microsoft_Excel_Worksheet566.xlsx"/></Relationships>
</file>

<file path=ppt/charts/_rels/chart568.xml.rels><?xml version="1.0" encoding="UTF-8" standalone="yes"?>
<Relationships xmlns="http://schemas.openxmlformats.org/package/2006/relationships"><Relationship Id="rId1" Type="http://schemas.openxmlformats.org/officeDocument/2006/relationships/package" Target="../embeddings/Microsoft_Excel_Worksheet567.xlsx"/></Relationships>
</file>

<file path=ppt/charts/_rels/chart569.xml.rels><?xml version="1.0" encoding="UTF-8" standalone="yes"?>
<Relationships xmlns="http://schemas.openxmlformats.org/package/2006/relationships"><Relationship Id="rId1" Type="http://schemas.openxmlformats.org/officeDocument/2006/relationships/package" Target="../embeddings/Microsoft_Excel_Worksheet568.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0.xml.rels><?xml version="1.0" encoding="UTF-8" standalone="yes"?>
<Relationships xmlns="http://schemas.openxmlformats.org/package/2006/relationships"><Relationship Id="rId1" Type="http://schemas.openxmlformats.org/officeDocument/2006/relationships/package" Target="../embeddings/Microsoft_Excel_Worksheet569.xlsx"/></Relationships>
</file>

<file path=ppt/charts/_rels/chart571.xml.rels><?xml version="1.0" encoding="UTF-8" standalone="yes"?>
<Relationships xmlns="http://schemas.openxmlformats.org/package/2006/relationships"><Relationship Id="rId1" Type="http://schemas.openxmlformats.org/officeDocument/2006/relationships/package" Target="../embeddings/Microsoft_Excel_Worksheet570.xlsx"/></Relationships>
</file>

<file path=ppt/charts/_rels/chart572.xml.rels><?xml version="1.0" encoding="UTF-8" standalone="yes"?>
<Relationships xmlns="http://schemas.openxmlformats.org/package/2006/relationships"><Relationship Id="rId1" Type="http://schemas.openxmlformats.org/officeDocument/2006/relationships/package" Target="../embeddings/Microsoft_Excel_Worksheet571.xlsx"/></Relationships>
</file>

<file path=ppt/charts/_rels/chart573.xml.rels><?xml version="1.0" encoding="UTF-8" standalone="yes"?>
<Relationships xmlns="http://schemas.openxmlformats.org/package/2006/relationships"><Relationship Id="rId1" Type="http://schemas.openxmlformats.org/officeDocument/2006/relationships/package" Target="../embeddings/Microsoft_Excel_Worksheet572.xlsx"/></Relationships>
</file>

<file path=ppt/charts/_rels/chart574.xml.rels><?xml version="1.0" encoding="UTF-8" standalone="yes"?>
<Relationships xmlns="http://schemas.openxmlformats.org/package/2006/relationships"><Relationship Id="rId1" Type="http://schemas.openxmlformats.org/officeDocument/2006/relationships/package" Target="../embeddings/Microsoft_Excel_Worksheet573.xlsx"/></Relationships>
</file>

<file path=ppt/charts/_rels/chart575.xml.rels><?xml version="1.0" encoding="UTF-8" standalone="yes"?>
<Relationships xmlns="http://schemas.openxmlformats.org/package/2006/relationships"><Relationship Id="rId1" Type="http://schemas.openxmlformats.org/officeDocument/2006/relationships/package" Target="../embeddings/Microsoft_Excel_Worksheet574.xlsx"/></Relationships>
</file>

<file path=ppt/charts/_rels/chart576.xml.rels><?xml version="1.0" encoding="UTF-8" standalone="yes"?>
<Relationships xmlns="http://schemas.openxmlformats.org/package/2006/relationships"><Relationship Id="rId1" Type="http://schemas.openxmlformats.org/officeDocument/2006/relationships/package" Target="../embeddings/Microsoft_Excel_Worksheet57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8584247932564741E-2</c:v>
                </c:pt>
                <c:pt idx="4">
                  <c:v>3.7720700560555709E-2</c:v>
                </c:pt>
                <c:pt idx="5">
                  <c:v>3.4738564587992191E-3</c:v>
                </c:pt>
                <c:pt idx="6">
                  <c:v>1.076906958703235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2187769289831998</c:v>
                </c:pt>
                <c:pt idx="4">
                  <c:v>0.12550493895390463</c:v>
                </c:pt>
                <c:pt idx="5">
                  <c:v>1.2950770856719335E-3</c:v>
                </c:pt>
                <c:pt idx="6">
                  <c:v>4.925878742254907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4178791596054161</c:v>
                </c:pt>
                <c:pt idx="4">
                  <c:v>0.1132051880598899</c:v>
                </c:pt>
                <c:pt idx="5">
                  <c:v>1.7548768805348445E-3</c:v>
                </c:pt>
                <c:pt idx="6">
                  <c:v>5.196763370165188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6915167595068131</c:v>
                </c:pt>
                <c:pt idx="4">
                  <c:v>3.9276718444238815E-2</c:v>
                </c:pt>
                <c:pt idx="5">
                  <c:v>5.4499915405247269E-3</c:v>
                </c:pt>
                <c:pt idx="6">
                  <c:v>1.630718362815506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6125083620765155E-2</c:v>
                </c:pt>
                <c:pt idx="4">
                  <c:v>2.6685226283846612E-2</c:v>
                </c:pt>
                <c:pt idx="5">
                  <c:v>1.0474630531315627E-2</c:v>
                </c:pt>
                <c:pt idx="6">
                  <c:v>4.6512897629549299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272829320094462E-2</c:v>
                </c:pt>
                <c:pt idx="1">
                  <c:v>3.4081257959513937E-2</c:v>
                </c:pt>
                <c:pt idx="2">
                  <c:v>4.7874047133530193E-3</c:v>
                </c:pt>
                <c:pt idx="3">
                  <c:v>0.46936510767245726</c:v>
                </c:pt>
                <c:pt idx="4">
                  <c:v>0.37704971960629557</c:v>
                </c:pt>
                <c:pt idx="5">
                  <c:v>8.6762110633933631E-3</c:v>
                </c:pt>
                <c:pt idx="6">
                  <c:v>6.476746966489234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788473348301955E-2</c:v>
                </c:pt>
                <c:pt idx="1">
                  <c:v>3.087338715127845E-2</c:v>
                </c:pt>
                <c:pt idx="2">
                  <c:v>4.5284278960666781E-3</c:v>
                </c:pt>
                <c:pt idx="3">
                  <c:v>0.56610677029251411</c:v>
                </c:pt>
                <c:pt idx="4">
                  <c:v>0.26625364894735826</c:v>
                </c:pt>
                <c:pt idx="5">
                  <c:v>1.9778098686692152E-2</c:v>
                </c:pt>
                <c:pt idx="6">
                  <c:v>6.467119367778838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5660347476259483E-2</c:v>
                </c:pt>
                <c:pt idx="1">
                  <c:v>6.5380753923899734E-2</c:v>
                </c:pt>
                <c:pt idx="2">
                  <c:v>2.0439976936801649E-2</c:v>
                </c:pt>
                <c:pt idx="3">
                  <c:v>0.63832883868840029</c:v>
                </c:pt>
                <c:pt idx="4">
                  <c:v>4.8038426203087785E-2</c:v>
                </c:pt>
                <c:pt idx="5">
                  <c:v>1.9514535367360697E-2</c:v>
                </c:pt>
                <c:pt idx="6">
                  <c:v>0.112637121404190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0588851371442544</c:v>
                </c:pt>
                <c:pt idx="4">
                  <c:v>0.16043994528766925</c:v>
                </c:pt>
                <c:pt idx="5">
                  <c:v>0.51310816257755865</c:v>
                </c:pt>
                <c:pt idx="6">
                  <c:v>2.0563378420346643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7345802553416747E-2</c:v>
                </c:pt>
                <c:pt idx="4">
                  <c:v>3.2331197129198692E-2</c:v>
                </c:pt>
                <c:pt idx="5">
                  <c:v>3.2398950952034259E-3</c:v>
                </c:pt>
                <c:pt idx="6">
                  <c:v>1.164222545296135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6299025154860396E-2</c:v>
                </c:pt>
                <c:pt idx="5">
                  <c:v>0.973700974845139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92234402682928E-2</c:v>
                </c:pt>
                <c:pt idx="2">
                  <c:v>5.0014036017335443E-2</c:v>
                </c:pt>
                <c:pt idx="4">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6.2242153332659457E-2</c:v>
                </c:pt>
                <c:pt idx="2">
                  <c:v>4.9823271511579899E-2</c:v>
                </c:pt>
                <c:pt idx="3">
                  <c:v>2.2265980150304582E-2</c:v>
                </c:pt>
                <c:pt idx="4">
                  <c:v>0.79189402521528685</c:v>
                </c:pt>
                <c:pt idx="5">
                  <c:v>7.37745697901691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2678797279063525E-2</c:v>
                </c:pt>
                <c:pt idx="4">
                  <c:v>1.986195840889458E-3</c:v>
                </c:pt>
                <c:pt idx="5">
                  <c:v>6.9443390208018371E-4</c:v>
                </c:pt>
                <c:pt idx="6">
                  <c:v>1.2366064030755734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8482979377515762</c:v>
                </c:pt>
                <c:pt idx="2">
                  <c:v>0.15171227594969547</c:v>
                </c:pt>
                <c:pt idx="3">
                  <c:v>5.8306139353697412E-2</c:v>
                </c:pt>
                <c:pt idx="4">
                  <c:v>0.55775429307398705</c:v>
                </c:pt>
                <c:pt idx="5">
                  <c:v>4.6766903930947207E-2</c:v>
                </c:pt>
                <c:pt idx="6">
                  <c:v>6.305939165152485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3128882976195653</c:v>
                </c:pt>
                <c:pt idx="1">
                  <c:v>5.9219469087980071E-2</c:v>
                </c:pt>
                <c:pt idx="3">
                  <c:v>0.14501371612813357</c:v>
                </c:pt>
                <c:pt idx="4">
                  <c:v>3.2597735276449984E-2</c:v>
                </c:pt>
                <c:pt idx="5">
                  <c:v>1.9552445565358713E-2</c:v>
                </c:pt>
                <c:pt idx="6">
                  <c:v>1.232780418012123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4414906773109712</c:v>
                </c:pt>
                <c:pt idx="1">
                  <c:v>6.0066459091308179E-2</c:v>
                </c:pt>
                <c:pt idx="3">
                  <c:v>0.15104715629610754</c:v>
                </c:pt>
                <c:pt idx="4">
                  <c:v>3.3042251364622389E-2</c:v>
                </c:pt>
                <c:pt idx="5">
                  <c:v>9.774181494242782E-3</c:v>
                </c:pt>
                <c:pt idx="6">
                  <c:v>1.920884022622002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0936125909599386</c:v>
                </c:pt>
                <c:pt idx="1">
                  <c:v>8.1475627720491328E-2</c:v>
                </c:pt>
                <c:pt idx="4">
                  <c:v>9.1631131835147924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6">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000055859243626E-2</c:v>
                </c:pt>
                <c:pt idx="1">
                  <c:v>9.5375518642911892E-4</c:v>
                </c:pt>
                <c:pt idx="2">
                  <c:v>0.22403350597124166</c:v>
                </c:pt>
                <c:pt idx="3">
                  <c:v>0.70036803322554375</c:v>
                </c:pt>
                <c:pt idx="4">
                  <c:v>3.2694315281670848E-2</c:v>
                </c:pt>
                <c:pt idx="5">
                  <c:v>1.893393904187477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647083687077304E-2</c:v>
                </c:pt>
                <c:pt idx="2">
                  <c:v>0.22294442613728951</c:v>
                </c:pt>
                <c:pt idx="3">
                  <c:v>0.70044050976898165</c:v>
                </c:pt>
                <c:pt idx="4">
                  <c:v>3.9130553169162412E-2</c:v>
                </c:pt>
                <c:pt idx="5">
                  <c:v>1.38205672329352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672271772221716E-2</c:v>
                </c:pt>
                <c:pt idx="2">
                  <c:v>0.26574679695526282</c:v>
                </c:pt>
                <c:pt idx="3">
                  <c:v>0.65419468025278105</c:v>
                </c:pt>
                <c:pt idx="4">
                  <c:v>4.9860403177317186E-2</c:v>
                </c:pt>
                <c:pt idx="5">
                  <c:v>1.525847842417175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7.22007466574753E-3</c:v>
                </c:pt>
                <c:pt idx="4">
                  <c:v>1.0451376111653789E-2</c:v>
                </c:pt>
                <c:pt idx="5">
                  <c:v>5.6827098905864515E-2</c:v>
                </c:pt>
                <c:pt idx="6">
                  <c:v>8.2831798652513271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051390886743488</c:v>
                </c:pt>
                <c:pt idx="1">
                  <c:v>5.4801199300337479E-2</c:v>
                </c:pt>
                <c:pt idx="2">
                  <c:v>5.3102395161357265E-2</c:v>
                </c:pt>
                <c:pt idx="3">
                  <c:v>0.34600557574253471</c:v>
                </c:pt>
                <c:pt idx="5">
                  <c:v>1.1968880287662071E-2</c:v>
                </c:pt>
                <c:pt idx="6">
                  <c:v>6.36021329458614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2542558089563431</c:v>
                </c:pt>
                <c:pt idx="1">
                  <c:v>0.12133702885660513</c:v>
                </c:pt>
                <c:pt idx="2">
                  <c:v>6.6674973859615211E-2</c:v>
                </c:pt>
                <c:pt idx="3">
                  <c:v>0.31407829541600935</c:v>
                </c:pt>
                <c:pt idx="4">
                  <c:v>9.2760671363254735E-4</c:v>
                </c:pt>
                <c:pt idx="5">
                  <c:v>1.0646160467327366E-2</c:v>
                </c:pt>
                <c:pt idx="6">
                  <c:v>6.091035379117610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6596995115484796</c:v>
                </c:pt>
                <c:pt idx="1">
                  <c:v>0.10257587208875503</c:v>
                </c:pt>
                <c:pt idx="2">
                  <c:v>0.15294871409311631</c:v>
                </c:pt>
                <c:pt idx="3">
                  <c:v>0.26797247240614258</c:v>
                </c:pt>
                <c:pt idx="6">
                  <c:v>1.05329902571381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554944977014372</c:v>
                </c:pt>
                <c:pt idx="1">
                  <c:v>0.21349314176736545</c:v>
                </c:pt>
                <c:pt idx="2">
                  <c:v>4.5726014619145515E-2</c:v>
                </c:pt>
                <c:pt idx="3">
                  <c:v>0.188514932913315</c:v>
                </c:pt>
                <c:pt idx="4">
                  <c:v>0.1911745765054369</c:v>
                </c:pt>
                <c:pt idx="5">
                  <c:v>2.9639351241718188E-2</c:v>
                </c:pt>
                <c:pt idx="6">
                  <c:v>0.125902533182875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1006819112456818E-3</c:v>
                </c:pt>
                <c:pt idx="4">
                  <c:v>4.6222790648612545E-2</c:v>
                </c:pt>
                <c:pt idx="5">
                  <c:v>2.763274785386235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050051479843211</c:v>
                </c:pt>
                <c:pt idx="1">
                  <c:v>0.20415707198366714</c:v>
                </c:pt>
                <c:pt idx="2">
                  <c:v>3.5020148101943642E-2</c:v>
                </c:pt>
                <c:pt idx="3">
                  <c:v>0.21813190338652202</c:v>
                </c:pt>
                <c:pt idx="4">
                  <c:v>0.19447307684090834</c:v>
                </c:pt>
                <c:pt idx="5">
                  <c:v>2.6906499741585811E-2</c:v>
                </c:pt>
                <c:pt idx="6">
                  <c:v>0.100810785146940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5457411727770247E-3</c:v>
                </c:pt>
                <c:pt idx="5">
                  <c:v>1.642624318752148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9.3669945950077896E-3</c:v>
                </c:pt>
                <c:pt idx="4">
                  <c:v>4.1812632208681477E-2</c:v>
                </c:pt>
                <c:pt idx="5">
                  <c:v>1.91827588216831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7178367512212368</c:v>
                </c:pt>
                <c:pt idx="1">
                  <c:v>0.27401386661525878</c:v>
                </c:pt>
                <c:pt idx="2">
                  <c:v>5.866806154514953E-2</c:v>
                </c:pt>
                <c:pt idx="3">
                  <c:v>0.20227419113305734</c:v>
                </c:pt>
                <c:pt idx="4">
                  <c:v>3.8883141916187233E-2</c:v>
                </c:pt>
                <c:pt idx="5">
                  <c:v>2.22420247911988E-2</c:v>
                </c:pt>
                <c:pt idx="6">
                  <c:v>3.213503887702463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964542545479147E-2</c:v>
                </c:pt>
                <c:pt idx="4">
                  <c:v>2.9677407210408698E-3</c:v>
                </c:pt>
                <c:pt idx="5">
                  <c:v>1.241221792991099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5237979434738663</c:v>
                </c:pt>
                <c:pt idx="4">
                  <c:v>8.7277618801427745E-2</c:v>
                </c:pt>
                <c:pt idx="5">
                  <c:v>0.19270874120502546</c:v>
                </c:pt>
                <c:pt idx="6">
                  <c:v>0.5676338456461602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077909109788069E-3</c:v>
                </c:pt>
                <c:pt idx="4">
                  <c:v>9.9110031991506923E-3</c:v>
                </c:pt>
                <c:pt idx="5">
                  <c:v>6.345898180920527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87766804714877344</c:v>
                </c:pt>
                <c:pt idx="6">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4583913026245198</c:v>
                </c:pt>
                <c:pt idx="1">
                  <c:v>0.4914595851343907</c:v>
                </c:pt>
                <c:pt idx="2">
                  <c:v>1.2849030110361134E-2</c:v>
                </c:pt>
                <c:pt idx="3">
                  <c:v>4.6895605146208316E-2</c:v>
                </c:pt>
                <c:pt idx="4">
                  <c:v>1.9392234946241896E-3</c:v>
                </c:pt>
                <c:pt idx="5">
                  <c:v>1.01742585196364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81395521216357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4271745192844238</c:v>
                </c:pt>
                <c:pt idx="1">
                  <c:v>0.58742365721863588</c:v>
                </c:pt>
                <c:pt idx="2">
                  <c:v>1.5154433036041857E-2</c:v>
                </c:pt>
                <c:pt idx="3">
                  <c:v>5.2466225081911511E-2</c:v>
                </c:pt>
                <c:pt idx="4">
                  <c:v>1.998176428375430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785764765919317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8875779925593945</c:v>
                </c:pt>
                <c:pt idx="1">
                  <c:v>0.5752159864784312</c:v>
                </c:pt>
                <c:pt idx="2">
                  <c:v>1.1465866538799985E-2</c:v>
                </c:pt>
                <c:pt idx="3">
                  <c:v>2.411937051886058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1932610379062989E-2</c:v>
                </c:pt>
                <c:pt idx="4">
                  <c:v>4.3975784559535394E-2</c:v>
                </c:pt>
                <c:pt idx="5">
                  <c:v>2.0908153334124125E-3</c:v>
                </c:pt>
                <c:pt idx="6">
                  <c:v>1.66122004914694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9890489262960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955335876672339E-2</c:v>
                </c:pt>
                <c:pt idx="1">
                  <c:v>0.47386830586363171</c:v>
                </c:pt>
                <c:pt idx="2">
                  <c:v>0.14579589568035858</c:v>
                </c:pt>
                <c:pt idx="3">
                  <c:v>9.9354668519163053E-2</c:v>
                </c:pt>
                <c:pt idx="4">
                  <c:v>0.21102529311791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4383755279408464</c:v>
                </c:pt>
                <c:pt idx="1">
                  <c:v>0.31880605087927877</c:v>
                </c:pt>
                <c:pt idx="2">
                  <c:v>0.12692761118319387</c:v>
                </c:pt>
                <c:pt idx="3">
                  <c:v>0.2509872878297742</c:v>
                </c:pt>
                <c:pt idx="4">
                  <c:v>5.4185838455291235E-2</c:v>
                </c:pt>
                <c:pt idx="5">
                  <c:v>5.255117474163054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8865541848837659</c:v>
                </c:pt>
                <c:pt idx="1">
                  <c:v>0.30250855854979869</c:v>
                </c:pt>
                <c:pt idx="2">
                  <c:v>0.18000402739537627</c:v>
                </c:pt>
                <c:pt idx="3">
                  <c:v>0.128830178028959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7097713774220162</c:v>
                </c:pt>
                <c:pt idx="4">
                  <c:v>0.529022862257798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6544538240817501</c:v>
                </c:pt>
                <c:pt idx="1">
                  <c:v>3.45546175918250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5792134007975338</c:v>
                </c:pt>
                <c:pt idx="1">
                  <c:v>4.20786599202465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7.4909531457801257E-2</c:v>
                </c:pt>
                <c:pt idx="4">
                  <c:v>2.6573563628055304E-2</c:v>
                </c:pt>
                <c:pt idx="5">
                  <c:v>4.279797571821323E-3</c:v>
                </c:pt>
                <c:pt idx="6">
                  <c:v>1.940994347139564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0536663373353315E-2</c:v>
                </c:pt>
                <c:pt idx="4">
                  <c:v>2.4541623224562964E-2</c:v>
                </c:pt>
                <c:pt idx="5">
                  <c:v>3.3812597291690578E-3</c:v>
                </c:pt>
                <c:pt idx="6">
                  <c:v>2.044811526594578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9.7941937283266403E-2</c:v>
                </c:pt>
                <c:pt idx="4">
                  <c:v>1.8036297047012094E-3</c:v>
                </c:pt>
                <c:pt idx="6">
                  <c:v>2.770065357863287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3243293102195291E-3</c:v>
                </c:pt>
                <c:pt idx="5">
                  <c:v>2.8177449319760215E-2</c:v>
                </c:pt>
                <c:pt idx="6">
                  <c:v>3.7395578860670568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272829320094462E-2</c:v>
                </c:pt>
                <c:pt idx="1">
                  <c:v>3.4081257959513937E-2</c:v>
                </c:pt>
                <c:pt idx="2">
                  <c:v>4.7874047133530193E-3</c:v>
                </c:pt>
                <c:pt idx="3">
                  <c:v>0.46936510767245726</c:v>
                </c:pt>
                <c:pt idx="4">
                  <c:v>0.37704971960629557</c:v>
                </c:pt>
                <c:pt idx="5">
                  <c:v>8.6762110633933631E-3</c:v>
                </c:pt>
                <c:pt idx="6">
                  <c:v>6.476746966489234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1213582051175734</c:v>
                </c:pt>
                <c:pt idx="4">
                  <c:v>0.3297590936327634</c:v>
                </c:pt>
                <c:pt idx="5">
                  <c:v>7.3383096264310692E-4</c:v>
                </c:pt>
                <c:pt idx="6">
                  <c:v>5.33674793373794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788473348301955E-2</c:v>
                </c:pt>
                <c:pt idx="1">
                  <c:v>3.087338715127845E-2</c:v>
                </c:pt>
                <c:pt idx="2">
                  <c:v>4.5284278960666781E-3</c:v>
                </c:pt>
                <c:pt idx="3">
                  <c:v>0.56610677029251411</c:v>
                </c:pt>
                <c:pt idx="4">
                  <c:v>0.26625364894735826</c:v>
                </c:pt>
                <c:pt idx="5">
                  <c:v>1.9778098686692152E-2</c:v>
                </c:pt>
                <c:pt idx="6">
                  <c:v>6.467119367778838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872035711351681</c:v>
                </c:pt>
                <c:pt idx="4">
                  <c:v>0.22826627496054719</c:v>
                </c:pt>
                <c:pt idx="5">
                  <c:v>1.2721354105633433E-2</c:v>
                </c:pt>
                <c:pt idx="6">
                  <c:v>5.45864538038596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5660347476259483E-2</c:v>
                </c:pt>
                <c:pt idx="1">
                  <c:v>6.5380753923899734E-2</c:v>
                </c:pt>
                <c:pt idx="2">
                  <c:v>2.0439976936801649E-2</c:v>
                </c:pt>
                <c:pt idx="3">
                  <c:v>0.63832883868840029</c:v>
                </c:pt>
                <c:pt idx="4">
                  <c:v>4.8038426203087785E-2</c:v>
                </c:pt>
                <c:pt idx="5">
                  <c:v>1.9514535367360697E-2</c:v>
                </c:pt>
                <c:pt idx="6">
                  <c:v>0.112637121404190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7.3348147395167469E-4</c:v>
                </c:pt>
                <c:pt idx="2">
                  <c:v>2.7175772227077447E-3</c:v>
                </c:pt>
                <c:pt idx="3">
                  <c:v>0.49645256144284822</c:v>
                </c:pt>
                <c:pt idx="4">
                  <c:v>1.9816219073796786E-3</c:v>
                </c:pt>
                <c:pt idx="6">
                  <c:v>0.1056147603270008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0588851371442544</c:v>
                </c:pt>
                <c:pt idx="4">
                  <c:v>0.16043994528766925</c:v>
                </c:pt>
                <c:pt idx="5">
                  <c:v>0.51310816257755865</c:v>
                </c:pt>
                <c:pt idx="6">
                  <c:v>2.0563378420346643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497059542610201</c:v>
                </c:pt>
                <c:pt idx="4">
                  <c:v>0.16043994528766925</c:v>
                </c:pt>
                <c:pt idx="5">
                  <c:v>0.42779359971454434</c:v>
                </c:pt>
                <c:pt idx="6">
                  <c:v>1.7200023787969896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6299025154860396E-2</c:v>
                </c:pt>
                <c:pt idx="5">
                  <c:v>0.973700974845139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6299025154860396E-2</c:v>
                </c:pt>
                <c:pt idx="5">
                  <c:v>0.9737009748451396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92234402682928E-2</c:v>
                </c:pt>
                <c:pt idx="2">
                  <c:v>5.0014036017335443E-2</c:v>
                </c:pt>
                <c:pt idx="4">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6.2242153332659457E-2</c:v>
                </c:pt>
                <c:pt idx="2">
                  <c:v>4.9823271511579899E-2</c:v>
                </c:pt>
                <c:pt idx="3">
                  <c:v>2.2265980150304582E-2</c:v>
                </c:pt>
                <c:pt idx="4">
                  <c:v>0.79189402521528685</c:v>
                </c:pt>
                <c:pt idx="5">
                  <c:v>7.37745697901691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8482979377515762</c:v>
                </c:pt>
                <c:pt idx="2">
                  <c:v>0.15171227594969547</c:v>
                </c:pt>
                <c:pt idx="3">
                  <c:v>5.8306139353697412E-2</c:v>
                </c:pt>
                <c:pt idx="4">
                  <c:v>0.55775429307398705</c:v>
                </c:pt>
                <c:pt idx="5">
                  <c:v>4.6766903930947207E-2</c:v>
                </c:pt>
                <c:pt idx="6">
                  <c:v>6.305939165152485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3128882976195653</c:v>
                </c:pt>
                <c:pt idx="1">
                  <c:v>5.9219469087980071E-2</c:v>
                </c:pt>
                <c:pt idx="3">
                  <c:v>0.14501371612813357</c:v>
                </c:pt>
                <c:pt idx="4">
                  <c:v>3.2597735276449984E-2</c:v>
                </c:pt>
                <c:pt idx="5">
                  <c:v>1.9552445565358713E-2</c:v>
                </c:pt>
                <c:pt idx="6">
                  <c:v>1.232780418012123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6368640957720454E-2</c:v>
                </c:pt>
                <c:pt idx="4">
                  <c:v>2.206583190898416E-2</c:v>
                </c:pt>
                <c:pt idx="5">
                  <c:v>1.0627538945125428E-2</c:v>
                </c:pt>
                <c:pt idx="6">
                  <c:v>1.039049547539771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4414906773109712</c:v>
                </c:pt>
                <c:pt idx="1">
                  <c:v>6.0066459091308179E-2</c:v>
                </c:pt>
                <c:pt idx="3">
                  <c:v>0.15104715629610754</c:v>
                </c:pt>
                <c:pt idx="4">
                  <c:v>3.3042251364622389E-2</c:v>
                </c:pt>
                <c:pt idx="5">
                  <c:v>9.774181494242782E-3</c:v>
                </c:pt>
                <c:pt idx="6">
                  <c:v>1.920884022622002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2919226767409653E-2</c:v>
                </c:pt>
                <c:pt idx="4">
                  <c:v>3.9972716825472827E-2</c:v>
                </c:pt>
                <c:pt idx="5">
                  <c:v>1.3302100294657144E-3</c:v>
                </c:pt>
                <c:pt idx="6">
                  <c:v>1.459899151803974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9134302613179609E-2</c:v>
                </c:pt>
                <c:pt idx="4">
                  <c:v>2.1375640018073617E-2</c:v>
                </c:pt>
                <c:pt idx="5">
                  <c:v>9.77418149424278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0936125909599386</c:v>
                </c:pt>
                <c:pt idx="1">
                  <c:v>8.1475627720491328E-2</c:v>
                </c:pt>
                <c:pt idx="4">
                  <c:v>9.1631131835147924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6">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000055859243626E-2</c:v>
                </c:pt>
                <c:pt idx="1">
                  <c:v>9.5375518642911892E-4</c:v>
                </c:pt>
                <c:pt idx="2">
                  <c:v>0.22403350597124166</c:v>
                </c:pt>
                <c:pt idx="3">
                  <c:v>0.70036803322554375</c:v>
                </c:pt>
                <c:pt idx="4">
                  <c:v>3.2694315281670848E-2</c:v>
                </c:pt>
                <c:pt idx="5">
                  <c:v>1.893393904187477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647083687077304E-2</c:v>
                </c:pt>
                <c:pt idx="2">
                  <c:v>0.22294442613728951</c:v>
                </c:pt>
                <c:pt idx="3">
                  <c:v>0.70044050976898165</c:v>
                </c:pt>
                <c:pt idx="4">
                  <c:v>3.9130553169162412E-2</c:v>
                </c:pt>
                <c:pt idx="5">
                  <c:v>1.38205672329352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672271772221716E-2</c:v>
                </c:pt>
                <c:pt idx="2">
                  <c:v>0.26574679695526282</c:v>
                </c:pt>
                <c:pt idx="3">
                  <c:v>0.65419468025278105</c:v>
                </c:pt>
                <c:pt idx="4">
                  <c:v>4.9860403177317186E-2</c:v>
                </c:pt>
                <c:pt idx="5">
                  <c:v>1.525847842417175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051390886743488</c:v>
                </c:pt>
                <c:pt idx="1">
                  <c:v>5.4801199300337479E-2</c:v>
                </c:pt>
                <c:pt idx="2">
                  <c:v>5.3102395161357265E-2</c:v>
                </c:pt>
                <c:pt idx="3">
                  <c:v>0.34600557574253471</c:v>
                </c:pt>
                <c:pt idx="5">
                  <c:v>1.1968880287662071E-2</c:v>
                </c:pt>
                <c:pt idx="6">
                  <c:v>6.36021329458614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2542558089563431</c:v>
                </c:pt>
                <c:pt idx="1">
                  <c:v>0.12133702885660513</c:v>
                </c:pt>
                <c:pt idx="2">
                  <c:v>6.6674973859615211E-2</c:v>
                </c:pt>
                <c:pt idx="3">
                  <c:v>0.31407829541600935</c:v>
                </c:pt>
                <c:pt idx="4">
                  <c:v>9.2760671363254735E-4</c:v>
                </c:pt>
                <c:pt idx="5">
                  <c:v>1.0646160467327366E-2</c:v>
                </c:pt>
                <c:pt idx="6">
                  <c:v>6.091035379117610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6596995115484796</c:v>
                </c:pt>
                <c:pt idx="1">
                  <c:v>0.10257587208875503</c:v>
                </c:pt>
                <c:pt idx="2">
                  <c:v>0.15294871409311631</c:v>
                </c:pt>
                <c:pt idx="3">
                  <c:v>0.26797247240614258</c:v>
                </c:pt>
                <c:pt idx="6">
                  <c:v>1.05329902571381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0257134604811853E-2</c:v>
                </c:pt>
                <c:pt idx="4">
                  <c:v>3.7609461519665988E-2</c:v>
                </c:pt>
                <c:pt idx="5">
                  <c:v>8.9859032439413222E-4</c:v>
                </c:pt>
                <c:pt idx="6">
                  <c:v>1.585971165522187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554944977014372</c:v>
                </c:pt>
                <c:pt idx="1">
                  <c:v>0.21349314176736545</c:v>
                </c:pt>
                <c:pt idx="2">
                  <c:v>4.5726014619145515E-2</c:v>
                </c:pt>
                <c:pt idx="3">
                  <c:v>0.188514932913315</c:v>
                </c:pt>
                <c:pt idx="4">
                  <c:v>0.1911745765054369</c:v>
                </c:pt>
                <c:pt idx="5">
                  <c:v>2.9639351241718188E-2</c:v>
                </c:pt>
                <c:pt idx="6">
                  <c:v>0.125902533182875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050051479843211</c:v>
                </c:pt>
                <c:pt idx="1">
                  <c:v>0.20415707198366714</c:v>
                </c:pt>
                <c:pt idx="2">
                  <c:v>3.5020148101943642E-2</c:v>
                </c:pt>
                <c:pt idx="3">
                  <c:v>0.21813190338652202</c:v>
                </c:pt>
                <c:pt idx="4">
                  <c:v>0.19447307684090834</c:v>
                </c:pt>
                <c:pt idx="5">
                  <c:v>2.6906499741585811E-2</c:v>
                </c:pt>
                <c:pt idx="6">
                  <c:v>0.100810785146940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7178367512212368</c:v>
                </c:pt>
                <c:pt idx="1">
                  <c:v>0.27401386661525878</c:v>
                </c:pt>
                <c:pt idx="2">
                  <c:v>5.866806154514953E-2</c:v>
                </c:pt>
                <c:pt idx="3">
                  <c:v>0.20227419113305734</c:v>
                </c:pt>
                <c:pt idx="4">
                  <c:v>3.8883141916187233E-2</c:v>
                </c:pt>
                <c:pt idx="5">
                  <c:v>2.22420247911988E-2</c:v>
                </c:pt>
                <c:pt idx="6">
                  <c:v>3.213503887702463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5237979434738663</c:v>
                </c:pt>
                <c:pt idx="4">
                  <c:v>8.7277618801427745E-2</c:v>
                </c:pt>
                <c:pt idx="5">
                  <c:v>0.19270874120502546</c:v>
                </c:pt>
                <c:pt idx="6">
                  <c:v>0.5676338456461602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87766804714877344</c:v>
                </c:pt>
                <c:pt idx="6">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0253073050899588E-2</c:v>
                </c:pt>
                <c:pt idx="4">
                  <c:v>1.0993292593136462E-2</c:v>
                </c:pt>
                <c:pt idx="5">
                  <c:v>1.5623254380348816E-3</c:v>
                </c:pt>
                <c:pt idx="6">
                  <c:v>2.6449844118957666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4583913026245198</c:v>
                </c:pt>
                <c:pt idx="1">
                  <c:v>0.4914595851343907</c:v>
                </c:pt>
                <c:pt idx="2">
                  <c:v>1.2849030110361134E-2</c:v>
                </c:pt>
                <c:pt idx="3">
                  <c:v>4.6895605146208316E-2</c:v>
                </c:pt>
                <c:pt idx="4">
                  <c:v>1.9392234946241896E-3</c:v>
                </c:pt>
                <c:pt idx="5">
                  <c:v>1.01742585196364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4271745192844238</c:v>
                </c:pt>
                <c:pt idx="1">
                  <c:v>0.58742365721863588</c:v>
                </c:pt>
                <c:pt idx="2">
                  <c:v>1.5154433036041857E-2</c:v>
                </c:pt>
                <c:pt idx="3">
                  <c:v>5.2466225081911511E-2</c:v>
                </c:pt>
                <c:pt idx="4">
                  <c:v>1.998176428375430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8875779925593945</c:v>
                </c:pt>
                <c:pt idx="1">
                  <c:v>0.5752159864784312</c:v>
                </c:pt>
                <c:pt idx="2">
                  <c:v>1.1465866538799985E-2</c:v>
                </c:pt>
                <c:pt idx="3">
                  <c:v>2.411937051886058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955335876672339E-2</c:v>
                </c:pt>
                <c:pt idx="1">
                  <c:v>0.47386830586363171</c:v>
                </c:pt>
                <c:pt idx="2">
                  <c:v>0.14579589568035858</c:v>
                </c:pt>
                <c:pt idx="3">
                  <c:v>9.9354668519163053E-2</c:v>
                </c:pt>
                <c:pt idx="4">
                  <c:v>0.21102529311791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4383755279408464</c:v>
                </c:pt>
                <c:pt idx="1">
                  <c:v>0.31880605087927877</c:v>
                </c:pt>
                <c:pt idx="2">
                  <c:v>0.12692761118319387</c:v>
                </c:pt>
                <c:pt idx="3">
                  <c:v>0.2509872878297742</c:v>
                </c:pt>
                <c:pt idx="4">
                  <c:v>5.4185838455291235E-2</c:v>
                </c:pt>
                <c:pt idx="5">
                  <c:v>5.255117474163054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8865541848837659</c:v>
                </c:pt>
                <c:pt idx="1">
                  <c:v>0.30250855854979869</c:v>
                </c:pt>
                <c:pt idx="2">
                  <c:v>0.18000402739537627</c:v>
                </c:pt>
                <c:pt idx="3">
                  <c:v>0.128830178028959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7097713774220162</c:v>
                </c:pt>
                <c:pt idx="4">
                  <c:v>0.529022862257798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5.5934083637333614E-3</c:v>
                </c:pt>
                <c:pt idx="4">
                  <c:v>9.9330474604290304E-3</c:v>
                </c:pt>
                <c:pt idx="5">
                  <c:v>1.3736245980386048E-2</c:v>
                </c:pt>
                <c:pt idx="6">
                  <c:v>9.9584611631943522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6544538240817501</c:v>
                </c:pt>
                <c:pt idx="1">
                  <c:v>3.45546175918250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5792134007975338</c:v>
                </c:pt>
                <c:pt idx="1">
                  <c:v>4.20786599202465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7.6577336078313841E-3</c:v>
                </c:pt>
                <c:pt idx="5">
                  <c:v>8.137700976257792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445887049676318E-2</c:v>
                </c:pt>
                <c:pt idx="5">
                  <c:v>2.22848221670788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916724061854028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9.5909989583508031E-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272829320094462E-2</c:v>
                </c:pt>
                <c:pt idx="1">
                  <c:v>3.4081257959513937E-2</c:v>
                </c:pt>
                <c:pt idx="2">
                  <c:v>4.7874047133530193E-3</c:v>
                </c:pt>
                <c:pt idx="3">
                  <c:v>0.46936510767245726</c:v>
                </c:pt>
                <c:pt idx="4">
                  <c:v>0.37704971960629557</c:v>
                </c:pt>
                <c:pt idx="5">
                  <c:v>8.6762110633933631E-3</c:v>
                </c:pt>
                <c:pt idx="6">
                  <c:v>6.476746966489234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788473348301955E-2</c:v>
                </c:pt>
                <c:pt idx="1">
                  <c:v>3.087338715127845E-2</c:v>
                </c:pt>
                <c:pt idx="2">
                  <c:v>4.5284278960666781E-3</c:v>
                </c:pt>
                <c:pt idx="3">
                  <c:v>0.56610677029251411</c:v>
                </c:pt>
                <c:pt idx="4">
                  <c:v>0.26625364894735826</c:v>
                </c:pt>
                <c:pt idx="5">
                  <c:v>1.9778098686692152E-2</c:v>
                </c:pt>
                <c:pt idx="6">
                  <c:v>6.467119367778838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9505463662323612E-2</c:v>
                </c:pt>
                <c:pt idx="4">
                  <c:v>3.8637263304953699E-2</c:v>
                </c:pt>
                <c:pt idx="5">
                  <c:v>3.1946835183702402E-3</c:v>
                </c:pt>
                <c:pt idx="6">
                  <c:v>5.79395301396869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5660347476259483E-2</c:v>
                </c:pt>
                <c:pt idx="1">
                  <c:v>6.5380753923899734E-2</c:v>
                </c:pt>
                <c:pt idx="2">
                  <c:v>2.0439976936801649E-2</c:v>
                </c:pt>
                <c:pt idx="3">
                  <c:v>0.63832883868840029</c:v>
                </c:pt>
                <c:pt idx="4">
                  <c:v>4.8038426203087785E-2</c:v>
                </c:pt>
                <c:pt idx="5">
                  <c:v>1.9514535367360697E-2</c:v>
                </c:pt>
                <c:pt idx="6">
                  <c:v>0.112637121404190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0588851371442544</c:v>
                </c:pt>
                <c:pt idx="4">
                  <c:v>0.16043994528766925</c:v>
                </c:pt>
                <c:pt idx="5">
                  <c:v>0.51310816257755865</c:v>
                </c:pt>
                <c:pt idx="6">
                  <c:v>2.0563378420346643E-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6299025154860396E-2</c:v>
                </c:pt>
                <c:pt idx="5">
                  <c:v>0.973700974845139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8639121225981975E-2</c:v>
                </c:pt>
                <c:pt idx="4">
                  <c:v>3.2972590313037446E-2</c:v>
                </c:pt>
                <c:pt idx="5">
                  <c:v>3.0617292355375699E-3</c:v>
                </c:pt>
                <c:pt idx="6">
                  <c:v>6.201263359758334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92234402682928E-2</c:v>
                </c:pt>
                <c:pt idx="2">
                  <c:v>5.0014036017335443E-2</c:v>
                </c:pt>
                <c:pt idx="4">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6.2242153332659457E-2</c:v>
                </c:pt>
                <c:pt idx="2">
                  <c:v>4.9823271511579899E-2</c:v>
                </c:pt>
                <c:pt idx="3">
                  <c:v>2.2265980150304582E-2</c:v>
                </c:pt>
                <c:pt idx="4">
                  <c:v>0.79189402521528685</c:v>
                </c:pt>
                <c:pt idx="5">
                  <c:v>7.37745697901691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8482979377515762</c:v>
                </c:pt>
                <c:pt idx="2">
                  <c:v>0.15171227594969547</c:v>
                </c:pt>
                <c:pt idx="3">
                  <c:v>5.8306139353697412E-2</c:v>
                </c:pt>
                <c:pt idx="4">
                  <c:v>0.55775429307398705</c:v>
                </c:pt>
                <c:pt idx="5">
                  <c:v>4.6766903930947207E-2</c:v>
                </c:pt>
                <c:pt idx="6">
                  <c:v>6.305939165152485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3128882976195653</c:v>
                </c:pt>
                <c:pt idx="1">
                  <c:v>5.9219469087980071E-2</c:v>
                </c:pt>
                <c:pt idx="3">
                  <c:v>0.14501371612813357</c:v>
                </c:pt>
                <c:pt idx="4">
                  <c:v>3.2597735276449984E-2</c:v>
                </c:pt>
                <c:pt idx="5">
                  <c:v>1.9552445565358713E-2</c:v>
                </c:pt>
                <c:pt idx="6">
                  <c:v>1.232780418012123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4414906773109712</c:v>
                </c:pt>
                <c:pt idx="1">
                  <c:v>6.0066459091308179E-2</c:v>
                </c:pt>
                <c:pt idx="3">
                  <c:v>0.15104715629610754</c:v>
                </c:pt>
                <c:pt idx="4">
                  <c:v>3.3042251364622389E-2</c:v>
                </c:pt>
                <c:pt idx="5">
                  <c:v>9.774181494242782E-3</c:v>
                </c:pt>
                <c:pt idx="6">
                  <c:v>1.920884022622002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0936125909599386</c:v>
                </c:pt>
                <c:pt idx="1">
                  <c:v>8.1475627720491328E-2</c:v>
                </c:pt>
                <c:pt idx="4">
                  <c:v>9.1631131835147924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6">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000055859243626E-2</c:v>
                </c:pt>
                <c:pt idx="1">
                  <c:v>9.5375518642911892E-4</c:v>
                </c:pt>
                <c:pt idx="2">
                  <c:v>0.22403350597124166</c:v>
                </c:pt>
                <c:pt idx="3">
                  <c:v>0.70036803322554375</c:v>
                </c:pt>
                <c:pt idx="4">
                  <c:v>3.2694315281670848E-2</c:v>
                </c:pt>
                <c:pt idx="5">
                  <c:v>1.893393904187477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647083687077304E-2</c:v>
                </c:pt>
                <c:pt idx="2">
                  <c:v>0.22294442613728951</c:v>
                </c:pt>
                <c:pt idx="3">
                  <c:v>0.70044050976898165</c:v>
                </c:pt>
                <c:pt idx="4">
                  <c:v>3.9130553169162412E-2</c:v>
                </c:pt>
                <c:pt idx="5">
                  <c:v>1.38205672329352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3261834276708833E-2</c:v>
                </c:pt>
                <c:pt idx="4">
                  <c:v>1.6861596904735865E-3</c:v>
                </c:pt>
                <c:pt idx="5">
                  <c:v>7.2153152552235054E-4</c:v>
                </c:pt>
                <c:pt idx="6">
                  <c:v>5.936323165864680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672271772221716E-2</c:v>
                </c:pt>
                <c:pt idx="2">
                  <c:v>0.26574679695526282</c:v>
                </c:pt>
                <c:pt idx="3">
                  <c:v>0.65419468025278105</c:v>
                </c:pt>
                <c:pt idx="4">
                  <c:v>4.9860403177317186E-2</c:v>
                </c:pt>
                <c:pt idx="5">
                  <c:v>1.525847842417175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1932610379062989E-2</c:v>
                </c:pt>
                <c:pt idx="4">
                  <c:v>4.3975784559535394E-2</c:v>
                </c:pt>
                <c:pt idx="5">
                  <c:v>2.0908153334124125E-3</c:v>
                </c:pt>
                <c:pt idx="6">
                  <c:v>1.66122004914694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9156522563560794E-2</c:v>
                </c:pt>
                <c:pt idx="4">
                  <c:v>4.1739161996614378E-2</c:v>
                </c:pt>
                <c:pt idx="5">
                  <c:v>1.1821565036181829E-3</c:v>
                </c:pt>
                <c:pt idx="6">
                  <c:v>1.837095123680547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8584247932564741E-2</c:v>
                </c:pt>
                <c:pt idx="4">
                  <c:v>3.7720700560555709E-2</c:v>
                </c:pt>
                <c:pt idx="5">
                  <c:v>3.4738564587992191E-3</c:v>
                </c:pt>
                <c:pt idx="6">
                  <c:v>1.076906958703235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7345802553416747E-2</c:v>
                </c:pt>
                <c:pt idx="4">
                  <c:v>3.2331197129198692E-2</c:v>
                </c:pt>
                <c:pt idx="5">
                  <c:v>3.2398950952034259E-3</c:v>
                </c:pt>
                <c:pt idx="6">
                  <c:v>1.164222545296135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5457411727770247E-3</c:v>
                </c:pt>
                <c:pt idx="5">
                  <c:v>1.642624318752148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9890489262960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2919226767409653E-2</c:v>
                </c:pt>
                <c:pt idx="4">
                  <c:v>3.9972716825472827E-2</c:v>
                </c:pt>
                <c:pt idx="5">
                  <c:v>1.3302100294657144E-3</c:v>
                </c:pt>
                <c:pt idx="6">
                  <c:v>1.459899151803974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9156522563560794E-2</c:v>
                </c:pt>
                <c:pt idx="4">
                  <c:v>4.1739161996614378E-2</c:v>
                </c:pt>
                <c:pt idx="5">
                  <c:v>1.1821565036181829E-3</c:v>
                </c:pt>
                <c:pt idx="6">
                  <c:v>1.837095123680547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7.3409295702115979E-3</c:v>
                </c:pt>
                <c:pt idx="4">
                  <c:v>1.0626318909334839E-2</c:v>
                </c:pt>
                <c:pt idx="5">
                  <c:v>5.7778312560457283E-2</c:v>
                </c:pt>
                <c:pt idx="6">
                  <c:v>8.4218298041533086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0257134604811853E-2</c:v>
                </c:pt>
                <c:pt idx="4">
                  <c:v>3.7609461519665988E-2</c:v>
                </c:pt>
                <c:pt idx="5">
                  <c:v>8.9859032439413222E-4</c:v>
                </c:pt>
                <c:pt idx="6">
                  <c:v>1.585971165522187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9505463662323612E-2</c:v>
                </c:pt>
                <c:pt idx="4">
                  <c:v>3.8637263304953699E-2</c:v>
                </c:pt>
                <c:pt idx="5">
                  <c:v>3.1946835183702402E-3</c:v>
                </c:pt>
                <c:pt idx="6">
                  <c:v>5.79395301396869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8639121225981975E-2</c:v>
                </c:pt>
                <c:pt idx="4">
                  <c:v>3.2972590313037446E-2</c:v>
                </c:pt>
                <c:pt idx="5">
                  <c:v>3.0617292355375699E-3</c:v>
                </c:pt>
                <c:pt idx="6">
                  <c:v>6.201263359758334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6087383290716273E-3</c:v>
                </c:pt>
                <c:pt idx="5">
                  <c:v>1.709569977420109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3.118352329926795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051390886743488</c:v>
                </c:pt>
                <c:pt idx="1">
                  <c:v>5.4801199300337479E-2</c:v>
                </c:pt>
                <c:pt idx="2">
                  <c:v>5.3102395161357265E-2</c:v>
                </c:pt>
                <c:pt idx="3">
                  <c:v>0.34600557574253471</c:v>
                </c:pt>
                <c:pt idx="5">
                  <c:v>1.1968880287662071E-2</c:v>
                </c:pt>
                <c:pt idx="6">
                  <c:v>6.36021329458614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2542558089563431</c:v>
                </c:pt>
                <c:pt idx="1">
                  <c:v>0.12133702885660513</c:v>
                </c:pt>
                <c:pt idx="2">
                  <c:v>6.6674973859615211E-2</c:v>
                </c:pt>
                <c:pt idx="3">
                  <c:v>0.31407829541600935</c:v>
                </c:pt>
                <c:pt idx="4">
                  <c:v>9.2760671363254735E-4</c:v>
                </c:pt>
                <c:pt idx="5">
                  <c:v>1.0646160467327366E-2</c:v>
                </c:pt>
                <c:pt idx="6">
                  <c:v>6.091035379117610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554944977014372</c:v>
                </c:pt>
                <c:pt idx="1">
                  <c:v>0.21349314176736545</c:v>
                </c:pt>
                <c:pt idx="2">
                  <c:v>4.5726014619145515E-2</c:v>
                </c:pt>
                <c:pt idx="3">
                  <c:v>0.188514932913315</c:v>
                </c:pt>
                <c:pt idx="4">
                  <c:v>0.1911745765054369</c:v>
                </c:pt>
                <c:pt idx="5">
                  <c:v>2.9639351241718188E-2</c:v>
                </c:pt>
                <c:pt idx="6">
                  <c:v>0.125902533182875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5069982838566179E-2</c:v>
                </c:pt>
                <c:pt idx="4">
                  <c:v>2.8031118920153988E-2</c:v>
                </c:pt>
                <c:pt idx="5">
                  <c:v>2.179884792790977E-3</c:v>
                </c:pt>
                <c:pt idx="6">
                  <c:v>8.749450005869336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050051479843211</c:v>
                </c:pt>
                <c:pt idx="1">
                  <c:v>0.20415707198366714</c:v>
                </c:pt>
                <c:pt idx="2">
                  <c:v>3.5020148101943642E-2</c:v>
                </c:pt>
                <c:pt idx="3">
                  <c:v>0.21813190338652202</c:v>
                </c:pt>
                <c:pt idx="4">
                  <c:v>0.19447307684090834</c:v>
                </c:pt>
                <c:pt idx="5">
                  <c:v>2.6906499741585811E-2</c:v>
                </c:pt>
                <c:pt idx="6">
                  <c:v>0.100810785146940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6087383290716273E-3</c:v>
                </c:pt>
                <c:pt idx="5">
                  <c:v>1.709569977420109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407999722962304E-2</c:v>
                </c:pt>
                <c:pt idx="4">
                  <c:v>2.7824093592540788E-2</c:v>
                </c:pt>
                <c:pt idx="5">
                  <c:v>1.0968053984174446E-3</c:v>
                </c:pt>
                <c:pt idx="6">
                  <c:v>9.809648137964904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87766804714877344</c:v>
                </c:pt>
                <c:pt idx="6">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6">
                  <c:v>0.12233195285122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4583913026245198</c:v>
                </c:pt>
                <c:pt idx="1">
                  <c:v>0.4914595851343907</c:v>
                </c:pt>
                <c:pt idx="2">
                  <c:v>1.2849030110361134E-2</c:v>
                </c:pt>
                <c:pt idx="3">
                  <c:v>4.6895605146208316E-2</c:v>
                </c:pt>
                <c:pt idx="4">
                  <c:v>1.9392234946241896E-3</c:v>
                </c:pt>
                <c:pt idx="5">
                  <c:v>1.01742585196364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4271745192844238</c:v>
                </c:pt>
                <c:pt idx="1">
                  <c:v>0.58742365721863588</c:v>
                </c:pt>
                <c:pt idx="2">
                  <c:v>1.5154433036041857E-2</c:v>
                </c:pt>
                <c:pt idx="3">
                  <c:v>5.2466225081911511E-2</c:v>
                </c:pt>
                <c:pt idx="4">
                  <c:v>1.998176428375430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955335876672339E-2</c:v>
                </c:pt>
                <c:pt idx="1">
                  <c:v>0.47386830586363171</c:v>
                </c:pt>
                <c:pt idx="2">
                  <c:v>0.14579589568035858</c:v>
                </c:pt>
                <c:pt idx="3">
                  <c:v>9.9354668519163053E-2</c:v>
                </c:pt>
                <c:pt idx="4">
                  <c:v>0.21102529311791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4383755279408464</c:v>
                </c:pt>
                <c:pt idx="1">
                  <c:v>0.31880605087927877</c:v>
                </c:pt>
                <c:pt idx="2">
                  <c:v>0.12692761118319387</c:v>
                </c:pt>
                <c:pt idx="3">
                  <c:v>0.2509872878297742</c:v>
                </c:pt>
                <c:pt idx="4">
                  <c:v>5.4185838455291235E-2</c:v>
                </c:pt>
                <c:pt idx="5">
                  <c:v>5.255117474163054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6544538240817501</c:v>
                </c:pt>
                <c:pt idx="1">
                  <c:v>3.45546175918250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5792134007975338</c:v>
                </c:pt>
                <c:pt idx="1">
                  <c:v>4.20786599202465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2187769289831998</c:v>
                </c:pt>
                <c:pt idx="4">
                  <c:v>0.12550493895390463</c:v>
                </c:pt>
                <c:pt idx="5">
                  <c:v>1.2950770856719335E-3</c:v>
                </c:pt>
                <c:pt idx="6">
                  <c:v>4.925878742254907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3.118352329926795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4178791596054161</c:v>
                </c:pt>
                <c:pt idx="4">
                  <c:v>0.1132051880598899</c:v>
                </c:pt>
                <c:pt idx="5">
                  <c:v>1.7548768805348445E-3</c:v>
                </c:pt>
                <c:pt idx="6">
                  <c:v>5.196763370165188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272829320094462E-2</c:v>
                </c:pt>
                <c:pt idx="1">
                  <c:v>3.4081257959513937E-2</c:v>
                </c:pt>
                <c:pt idx="2">
                  <c:v>4.7874047133530193E-3</c:v>
                </c:pt>
                <c:pt idx="3">
                  <c:v>0.46936510767245726</c:v>
                </c:pt>
                <c:pt idx="4">
                  <c:v>0.37704971960629557</c:v>
                </c:pt>
                <c:pt idx="5">
                  <c:v>8.6762110633933631E-3</c:v>
                </c:pt>
                <c:pt idx="6">
                  <c:v>6.476746966489234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788473348301955E-2</c:v>
                </c:pt>
                <c:pt idx="1">
                  <c:v>3.087338715127845E-2</c:v>
                </c:pt>
                <c:pt idx="2">
                  <c:v>4.5284278960666781E-3</c:v>
                </c:pt>
                <c:pt idx="3">
                  <c:v>0.56610677029251411</c:v>
                </c:pt>
                <c:pt idx="4">
                  <c:v>0.26625364894735826</c:v>
                </c:pt>
                <c:pt idx="5">
                  <c:v>1.9778098686692152E-2</c:v>
                </c:pt>
                <c:pt idx="6">
                  <c:v>6.467119367778838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92234402682928E-2</c:v>
                </c:pt>
                <c:pt idx="2">
                  <c:v>5.0014036017335443E-2</c:v>
                </c:pt>
                <c:pt idx="4">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6.2242153332659457E-2</c:v>
                </c:pt>
                <c:pt idx="2">
                  <c:v>4.9823271511579899E-2</c:v>
                </c:pt>
                <c:pt idx="3">
                  <c:v>2.2265980150304582E-2</c:v>
                </c:pt>
                <c:pt idx="4">
                  <c:v>0.79189402521528685</c:v>
                </c:pt>
                <c:pt idx="5">
                  <c:v>7.37745697901691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3128882976195653</c:v>
                </c:pt>
                <c:pt idx="1">
                  <c:v>5.9219469087980071E-2</c:v>
                </c:pt>
                <c:pt idx="3">
                  <c:v>0.14501371612813357</c:v>
                </c:pt>
                <c:pt idx="4">
                  <c:v>3.2597735276449984E-2</c:v>
                </c:pt>
                <c:pt idx="5">
                  <c:v>1.9552445565358713E-2</c:v>
                </c:pt>
                <c:pt idx="6">
                  <c:v>1.232780418012123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4414906773109712</c:v>
                </c:pt>
                <c:pt idx="1">
                  <c:v>6.0066459091308179E-2</c:v>
                </c:pt>
                <c:pt idx="3">
                  <c:v>0.15104715629610754</c:v>
                </c:pt>
                <c:pt idx="4">
                  <c:v>3.3042251364622389E-2</c:v>
                </c:pt>
                <c:pt idx="5">
                  <c:v>9.774181494242782E-3</c:v>
                </c:pt>
                <c:pt idx="6">
                  <c:v>1.920884022622002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000055859243626E-2</c:v>
                </c:pt>
                <c:pt idx="1">
                  <c:v>9.5375518642911892E-4</c:v>
                </c:pt>
                <c:pt idx="2">
                  <c:v>0.22403350597124166</c:v>
                </c:pt>
                <c:pt idx="3">
                  <c:v>0.70036803322554375</c:v>
                </c:pt>
                <c:pt idx="4">
                  <c:v>3.2694315281670848E-2</c:v>
                </c:pt>
                <c:pt idx="5">
                  <c:v>1.893393904187477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647083687077304E-2</c:v>
                </c:pt>
                <c:pt idx="2">
                  <c:v>0.22294442613728951</c:v>
                </c:pt>
                <c:pt idx="3">
                  <c:v>0.70044050976898165</c:v>
                </c:pt>
                <c:pt idx="4">
                  <c:v>3.9130553169162412E-2</c:v>
                </c:pt>
                <c:pt idx="5">
                  <c:v>1.38205672329352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051390886743488</c:v>
                </c:pt>
                <c:pt idx="1">
                  <c:v>5.4801199300337479E-2</c:v>
                </c:pt>
                <c:pt idx="2">
                  <c:v>5.3102395161357265E-2</c:v>
                </c:pt>
                <c:pt idx="3">
                  <c:v>0.34600557574253471</c:v>
                </c:pt>
                <c:pt idx="5">
                  <c:v>1.1968880287662071E-2</c:v>
                </c:pt>
                <c:pt idx="6">
                  <c:v>6.36021329458614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2542558089563431</c:v>
                </c:pt>
                <c:pt idx="1">
                  <c:v>0.12133702885660513</c:v>
                </c:pt>
                <c:pt idx="2">
                  <c:v>6.6674973859615211E-2</c:v>
                </c:pt>
                <c:pt idx="3">
                  <c:v>0.31407829541600935</c:v>
                </c:pt>
                <c:pt idx="4">
                  <c:v>9.2760671363254735E-4</c:v>
                </c:pt>
                <c:pt idx="5">
                  <c:v>1.0646160467327366E-2</c:v>
                </c:pt>
                <c:pt idx="6">
                  <c:v>6.091035379117610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554944977014372</c:v>
                </c:pt>
                <c:pt idx="1">
                  <c:v>0.21349314176736545</c:v>
                </c:pt>
                <c:pt idx="2">
                  <c:v>4.5726014619145515E-2</c:v>
                </c:pt>
                <c:pt idx="3">
                  <c:v>0.188514932913315</c:v>
                </c:pt>
                <c:pt idx="4">
                  <c:v>0.1911745765054369</c:v>
                </c:pt>
                <c:pt idx="5">
                  <c:v>2.9639351241718188E-2</c:v>
                </c:pt>
                <c:pt idx="6">
                  <c:v>0.125902533182875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1006819112456818E-3</c:v>
                </c:pt>
                <c:pt idx="4">
                  <c:v>4.6222790648612545E-2</c:v>
                </c:pt>
                <c:pt idx="5">
                  <c:v>2.763274785386235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050051479843211</c:v>
                </c:pt>
                <c:pt idx="1">
                  <c:v>0.20415707198366714</c:v>
                </c:pt>
                <c:pt idx="2">
                  <c:v>3.5020148101943642E-2</c:v>
                </c:pt>
                <c:pt idx="3">
                  <c:v>0.21813190338652202</c:v>
                </c:pt>
                <c:pt idx="4">
                  <c:v>0.19447307684090834</c:v>
                </c:pt>
                <c:pt idx="5">
                  <c:v>2.6906499741585811E-2</c:v>
                </c:pt>
                <c:pt idx="6">
                  <c:v>0.100810785146940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9.3669945950077896E-3</c:v>
                </c:pt>
                <c:pt idx="4">
                  <c:v>4.1812632208681477E-2</c:v>
                </c:pt>
                <c:pt idx="5">
                  <c:v>1.91827588216831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87766804714877344</c:v>
                </c:pt>
                <c:pt idx="6">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4583913026245198</c:v>
                </c:pt>
                <c:pt idx="1">
                  <c:v>0.4914595851343907</c:v>
                </c:pt>
                <c:pt idx="2">
                  <c:v>1.2849030110361134E-2</c:v>
                </c:pt>
                <c:pt idx="3">
                  <c:v>4.6895605146208316E-2</c:v>
                </c:pt>
                <c:pt idx="4">
                  <c:v>1.9392234946241896E-3</c:v>
                </c:pt>
                <c:pt idx="5">
                  <c:v>1.01742585196364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81395521216357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4271745192844238</c:v>
                </c:pt>
                <c:pt idx="1">
                  <c:v>0.58742365721863588</c:v>
                </c:pt>
                <c:pt idx="2">
                  <c:v>1.5154433036041857E-2</c:v>
                </c:pt>
                <c:pt idx="3">
                  <c:v>5.2466225081911511E-2</c:v>
                </c:pt>
                <c:pt idx="4">
                  <c:v>1.998176428375430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785764765919317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955335876672339E-2</c:v>
                </c:pt>
                <c:pt idx="1">
                  <c:v>0.47386830586363171</c:v>
                </c:pt>
                <c:pt idx="2">
                  <c:v>0.14579589568035858</c:v>
                </c:pt>
                <c:pt idx="3">
                  <c:v>9.9354668519163053E-2</c:v>
                </c:pt>
                <c:pt idx="4">
                  <c:v>0.21102529311791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4383755279408464</c:v>
                </c:pt>
                <c:pt idx="1">
                  <c:v>0.31880605087927877</c:v>
                </c:pt>
                <c:pt idx="2">
                  <c:v>0.12692761118319387</c:v>
                </c:pt>
                <c:pt idx="3">
                  <c:v>0.2509872878297742</c:v>
                </c:pt>
                <c:pt idx="4">
                  <c:v>5.4185838455291235E-2</c:v>
                </c:pt>
                <c:pt idx="5">
                  <c:v>5.255117474163054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6544538240817501</c:v>
                </c:pt>
                <c:pt idx="1">
                  <c:v>3.45546175918250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051390886743488</c:v>
                </c:pt>
                <c:pt idx="1">
                  <c:v>5.4801199300337479E-2</c:v>
                </c:pt>
                <c:pt idx="2">
                  <c:v>5.3102395161357265E-2</c:v>
                </c:pt>
                <c:pt idx="3">
                  <c:v>0.34600557574253471</c:v>
                </c:pt>
                <c:pt idx="5">
                  <c:v>1.1968880287662071E-2</c:v>
                </c:pt>
                <c:pt idx="6">
                  <c:v>6.36021329458614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5792134007975338</c:v>
                </c:pt>
                <c:pt idx="1">
                  <c:v>4.20786599202465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7.4909531457801257E-2</c:v>
                </c:pt>
                <c:pt idx="4">
                  <c:v>2.6573563628055304E-2</c:v>
                </c:pt>
                <c:pt idx="5">
                  <c:v>4.279797571821323E-3</c:v>
                </c:pt>
                <c:pt idx="6">
                  <c:v>1.940994347139564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0536663373353315E-2</c:v>
                </c:pt>
                <c:pt idx="4">
                  <c:v>2.4541623224562964E-2</c:v>
                </c:pt>
                <c:pt idx="5">
                  <c:v>3.3812597291690578E-3</c:v>
                </c:pt>
                <c:pt idx="6">
                  <c:v>2.044811526594578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272829320094462E-2</c:v>
                </c:pt>
                <c:pt idx="1">
                  <c:v>3.4081257959513937E-2</c:v>
                </c:pt>
                <c:pt idx="2">
                  <c:v>4.7874047133530193E-3</c:v>
                </c:pt>
                <c:pt idx="3">
                  <c:v>0.46936510767245726</c:v>
                </c:pt>
                <c:pt idx="4">
                  <c:v>0.37704971960629557</c:v>
                </c:pt>
                <c:pt idx="5">
                  <c:v>8.6762110633933631E-3</c:v>
                </c:pt>
                <c:pt idx="6">
                  <c:v>6.476746966489234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1213582051175734</c:v>
                </c:pt>
                <c:pt idx="4">
                  <c:v>0.3297590936327634</c:v>
                </c:pt>
                <c:pt idx="5">
                  <c:v>7.3383096264310692E-4</c:v>
                </c:pt>
                <c:pt idx="6">
                  <c:v>5.33674793373794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788473348301955E-2</c:v>
                </c:pt>
                <c:pt idx="1">
                  <c:v>3.087338715127845E-2</c:v>
                </c:pt>
                <c:pt idx="2">
                  <c:v>4.5284278960666781E-3</c:v>
                </c:pt>
                <c:pt idx="3">
                  <c:v>0.56610677029251411</c:v>
                </c:pt>
                <c:pt idx="4">
                  <c:v>0.26625364894735826</c:v>
                </c:pt>
                <c:pt idx="5">
                  <c:v>1.9778098686692152E-2</c:v>
                </c:pt>
                <c:pt idx="6">
                  <c:v>6.467119367778838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872035711351681</c:v>
                </c:pt>
                <c:pt idx="4">
                  <c:v>0.22826627496054719</c:v>
                </c:pt>
                <c:pt idx="5">
                  <c:v>1.2721354105633433E-2</c:v>
                </c:pt>
                <c:pt idx="6">
                  <c:v>5.45864538038596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92234402682928E-2</c:v>
                </c:pt>
                <c:pt idx="2">
                  <c:v>5.0014036017335443E-2</c:v>
                </c:pt>
                <c:pt idx="4">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2542558089563431</c:v>
                </c:pt>
                <c:pt idx="1">
                  <c:v>0.12133702885660513</c:v>
                </c:pt>
                <c:pt idx="2">
                  <c:v>6.6674973859615211E-2</c:v>
                </c:pt>
                <c:pt idx="3">
                  <c:v>0.31407829541600935</c:v>
                </c:pt>
                <c:pt idx="4">
                  <c:v>9.2760671363254735E-4</c:v>
                </c:pt>
                <c:pt idx="5">
                  <c:v>1.0646160467327366E-2</c:v>
                </c:pt>
                <c:pt idx="6">
                  <c:v>6.091035379117610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6.2242153332659457E-2</c:v>
                </c:pt>
                <c:pt idx="2">
                  <c:v>4.9823271511579899E-2</c:v>
                </c:pt>
                <c:pt idx="3">
                  <c:v>2.2265980150304582E-2</c:v>
                </c:pt>
                <c:pt idx="4">
                  <c:v>0.79189402521528685</c:v>
                </c:pt>
                <c:pt idx="5">
                  <c:v>7.37745697901691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3128882976195653</c:v>
                </c:pt>
                <c:pt idx="1">
                  <c:v>5.9219469087980071E-2</c:v>
                </c:pt>
                <c:pt idx="3">
                  <c:v>0.14501371612813357</c:v>
                </c:pt>
                <c:pt idx="4">
                  <c:v>3.2597735276449984E-2</c:v>
                </c:pt>
                <c:pt idx="5">
                  <c:v>1.9552445565358713E-2</c:v>
                </c:pt>
                <c:pt idx="6">
                  <c:v>1.232780418012123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6368640957720454E-2</c:v>
                </c:pt>
                <c:pt idx="4">
                  <c:v>2.206583190898416E-2</c:v>
                </c:pt>
                <c:pt idx="5">
                  <c:v>1.0627538945125428E-2</c:v>
                </c:pt>
                <c:pt idx="6">
                  <c:v>1.039049547539771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4414906773109712</c:v>
                </c:pt>
                <c:pt idx="1">
                  <c:v>6.0066459091308179E-2</c:v>
                </c:pt>
                <c:pt idx="3">
                  <c:v>0.15104715629610754</c:v>
                </c:pt>
                <c:pt idx="4">
                  <c:v>3.3042251364622389E-2</c:v>
                </c:pt>
                <c:pt idx="5">
                  <c:v>9.774181494242782E-3</c:v>
                </c:pt>
                <c:pt idx="6">
                  <c:v>1.920884022622002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9134302613179609E-2</c:v>
                </c:pt>
                <c:pt idx="4">
                  <c:v>2.1375640018073617E-2</c:v>
                </c:pt>
                <c:pt idx="5">
                  <c:v>9.77418149424278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000055859243626E-2</c:v>
                </c:pt>
                <c:pt idx="1">
                  <c:v>9.5375518642911892E-4</c:v>
                </c:pt>
                <c:pt idx="2">
                  <c:v>0.22403350597124166</c:v>
                </c:pt>
                <c:pt idx="3">
                  <c:v>0.70036803322554375</c:v>
                </c:pt>
                <c:pt idx="4">
                  <c:v>3.2694315281670848E-2</c:v>
                </c:pt>
                <c:pt idx="5">
                  <c:v>1.893393904187477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647083687077304E-2</c:v>
                </c:pt>
                <c:pt idx="2">
                  <c:v>0.22294442613728951</c:v>
                </c:pt>
                <c:pt idx="3">
                  <c:v>0.70044050976898165</c:v>
                </c:pt>
                <c:pt idx="4">
                  <c:v>3.9130553169162412E-2</c:v>
                </c:pt>
                <c:pt idx="5">
                  <c:v>1.38205672329352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051390886743488</c:v>
                </c:pt>
                <c:pt idx="1">
                  <c:v>5.4801199300337479E-2</c:v>
                </c:pt>
                <c:pt idx="2">
                  <c:v>5.3102395161357265E-2</c:v>
                </c:pt>
                <c:pt idx="3">
                  <c:v>0.34600557574253471</c:v>
                </c:pt>
                <c:pt idx="5">
                  <c:v>1.1968880287662071E-2</c:v>
                </c:pt>
                <c:pt idx="6">
                  <c:v>6.36021329458614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2542558089563431</c:v>
                </c:pt>
                <c:pt idx="1">
                  <c:v>0.12133702885660513</c:v>
                </c:pt>
                <c:pt idx="2">
                  <c:v>6.6674973859615211E-2</c:v>
                </c:pt>
                <c:pt idx="3">
                  <c:v>0.31407829541600935</c:v>
                </c:pt>
                <c:pt idx="4">
                  <c:v>9.2760671363254735E-4</c:v>
                </c:pt>
                <c:pt idx="5">
                  <c:v>1.0646160467327366E-2</c:v>
                </c:pt>
                <c:pt idx="6">
                  <c:v>6.091035379117610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554944977014372</c:v>
                </c:pt>
                <c:pt idx="1">
                  <c:v>0.21349314176736545</c:v>
                </c:pt>
                <c:pt idx="2">
                  <c:v>4.5726014619145515E-2</c:v>
                </c:pt>
                <c:pt idx="3">
                  <c:v>0.188514932913315</c:v>
                </c:pt>
                <c:pt idx="4">
                  <c:v>0.1911745765054369</c:v>
                </c:pt>
                <c:pt idx="5">
                  <c:v>2.9639351241718188E-2</c:v>
                </c:pt>
                <c:pt idx="6">
                  <c:v>0.125902533182875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6596995115484796</c:v>
                </c:pt>
                <c:pt idx="1">
                  <c:v>0.10257587208875503</c:v>
                </c:pt>
                <c:pt idx="2">
                  <c:v>0.15294871409311631</c:v>
                </c:pt>
                <c:pt idx="3">
                  <c:v>0.26797247240614258</c:v>
                </c:pt>
                <c:pt idx="6">
                  <c:v>1.05329902571381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050051479843211</c:v>
                </c:pt>
                <c:pt idx="1">
                  <c:v>0.20415707198366714</c:v>
                </c:pt>
                <c:pt idx="2">
                  <c:v>3.5020148101943642E-2</c:v>
                </c:pt>
                <c:pt idx="3">
                  <c:v>0.21813190338652202</c:v>
                </c:pt>
                <c:pt idx="4">
                  <c:v>0.19447307684090834</c:v>
                </c:pt>
                <c:pt idx="5">
                  <c:v>2.6906499741585811E-2</c:v>
                </c:pt>
                <c:pt idx="6">
                  <c:v>0.100810785146940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87766804714877344</c:v>
                </c:pt>
                <c:pt idx="6">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4583913026245198</c:v>
                </c:pt>
                <c:pt idx="1">
                  <c:v>0.4914595851343907</c:v>
                </c:pt>
                <c:pt idx="2">
                  <c:v>1.2849030110361134E-2</c:v>
                </c:pt>
                <c:pt idx="3">
                  <c:v>4.6895605146208316E-2</c:v>
                </c:pt>
                <c:pt idx="4">
                  <c:v>1.9392234946241896E-3</c:v>
                </c:pt>
                <c:pt idx="5">
                  <c:v>1.01742585196364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4271745192844238</c:v>
                </c:pt>
                <c:pt idx="1">
                  <c:v>0.58742365721863588</c:v>
                </c:pt>
                <c:pt idx="2">
                  <c:v>1.5154433036041857E-2</c:v>
                </c:pt>
                <c:pt idx="3">
                  <c:v>5.2466225081911511E-2</c:v>
                </c:pt>
                <c:pt idx="4">
                  <c:v>1.998176428375430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955335876672339E-2</c:v>
                </c:pt>
                <c:pt idx="1">
                  <c:v>0.47386830586363171</c:v>
                </c:pt>
                <c:pt idx="2">
                  <c:v>0.14579589568035858</c:v>
                </c:pt>
                <c:pt idx="3">
                  <c:v>9.9354668519163053E-2</c:v>
                </c:pt>
                <c:pt idx="4">
                  <c:v>0.21102529311791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4383755279408464</c:v>
                </c:pt>
                <c:pt idx="1">
                  <c:v>0.31880605087927877</c:v>
                </c:pt>
                <c:pt idx="2">
                  <c:v>0.12692761118319387</c:v>
                </c:pt>
                <c:pt idx="3">
                  <c:v>0.2509872878297742</c:v>
                </c:pt>
                <c:pt idx="4">
                  <c:v>5.4185838455291235E-2</c:v>
                </c:pt>
                <c:pt idx="5">
                  <c:v>5.255117474163054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6544538240817501</c:v>
                </c:pt>
                <c:pt idx="1">
                  <c:v>3.45546175918250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5792134007975338</c:v>
                </c:pt>
                <c:pt idx="1">
                  <c:v>4.20786599202465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7.6577336078313841E-3</c:v>
                </c:pt>
                <c:pt idx="5">
                  <c:v>8.137700976257792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445887049676318E-2</c:v>
                </c:pt>
                <c:pt idx="5">
                  <c:v>2.22848221670788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272829320094462E-2</c:v>
                </c:pt>
                <c:pt idx="1">
                  <c:v>3.4081257959513937E-2</c:v>
                </c:pt>
                <c:pt idx="2">
                  <c:v>4.7874047133530193E-3</c:v>
                </c:pt>
                <c:pt idx="3">
                  <c:v>0.46936510767245726</c:v>
                </c:pt>
                <c:pt idx="4">
                  <c:v>0.37704971960629557</c:v>
                </c:pt>
                <c:pt idx="5">
                  <c:v>8.6762110633933631E-3</c:v>
                </c:pt>
                <c:pt idx="6">
                  <c:v>6.476746966489234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788473348301955E-2</c:v>
                </c:pt>
                <c:pt idx="1">
                  <c:v>3.087338715127845E-2</c:v>
                </c:pt>
                <c:pt idx="2">
                  <c:v>4.5284278960666781E-3</c:v>
                </c:pt>
                <c:pt idx="3">
                  <c:v>0.56610677029251411</c:v>
                </c:pt>
                <c:pt idx="4">
                  <c:v>0.26625364894735826</c:v>
                </c:pt>
                <c:pt idx="5">
                  <c:v>1.9778098686692152E-2</c:v>
                </c:pt>
                <c:pt idx="6">
                  <c:v>6.467119367778838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oc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ceit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Mouss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Roll-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92234402682928E-2</c:v>
                </c:pt>
                <c:pt idx="2">
                  <c:v>5.0014036017335443E-2</c:v>
                </c:pt>
                <c:pt idx="4">
                  <c:v>0.89076252371437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6.2242153332659457E-2</c:v>
                </c:pt>
                <c:pt idx="2">
                  <c:v>4.9823271511579899E-2</c:v>
                </c:pt>
                <c:pt idx="3">
                  <c:v>2.2265980150304582E-2</c:v>
                </c:pt>
                <c:pt idx="4">
                  <c:v>0.79189402521528685</c:v>
                </c:pt>
                <c:pt idx="5">
                  <c:v>7.377456979016919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erum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3128882976195653</c:v>
                </c:pt>
                <c:pt idx="1">
                  <c:v>5.9219469087980071E-2</c:v>
                </c:pt>
                <c:pt idx="3">
                  <c:v>0.14501371612813357</c:v>
                </c:pt>
                <c:pt idx="4">
                  <c:v>3.2597735276449984E-2</c:v>
                </c:pt>
                <c:pt idx="5">
                  <c:v>1.9552445565358713E-2</c:v>
                </c:pt>
                <c:pt idx="6">
                  <c:v>1.232780418012123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4414906773109712</c:v>
                </c:pt>
                <c:pt idx="1">
                  <c:v>6.0066459091308179E-2</c:v>
                </c:pt>
                <c:pt idx="3">
                  <c:v>0.15104715629610754</c:v>
                </c:pt>
                <c:pt idx="4">
                  <c:v>3.3042251364622389E-2</c:v>
                </c:pt>
                <c:pt idx="5">
                  <c:v>9.774181494242782E-3</c:v>
                </c:pt>
                <c:pt idx="6">
                  <c:v>1.920884022622002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pray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000055859243626E-2</c:v>
                </c:pt>
                <c:pt idx="1">
                  <c:v>9.5375518642911892E-4</c:v>
                </c:pt>
                <c:pt idx="2">
                  <c:v>0.22403350597124166</c:v>
                </c:pt>
                <c:pt idx="3">
                  <c:v>0.70036803322554375</c:v>
                </c:pt>
                <c:pt idx="4">
                  <c:v>3.2694315281670848E-2</c:v>
                </c:pt>
                <c:pt idx="5">
                  <c:v>1.893393904187477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647083687077304E-2</c:v>
                </c:pt>
                <c:pt idx="2">
                  <c:v>0.22294442613728951</c:v>
                </c:pt>
                <c:pt idx="3">
                  <c:v>0.70044050976898165</c:v>
                </c:pt>
                <c:pt idx="4">
                  <c:v>3.9130553169162412E-2</c:v>
                </c:pt>
                <c:pt idx="5">
                  <c:v>1.38205672329352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Stick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9818773572826585E-2</c:v>
                </c:pt>
                <c:pt idx="4">
                  <c:v>1.4622076329802522E-2</c:v>
                </c:pt>
                <c:pt idx="5">
                  <c:v>3.2390174171978304E-3</c:v>
                </c:pt>
                <c:pt idx="6">
                  <c:v>2.658524170850826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Aeroso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554944977014372</c:v>
                </c:pt>
                <c:pt idx="1">
                  <c:v>0.21349314176736545</c:v>
                </c:pt>
                <c:pt idx="2">
                  <c:v>4.5726014619145515E-2</c:v>
                </c:pt>
                <c:pt idx="3">
                  <c:v>0.188514932913315</c:v>
                </c:pt>
                <c:pt idx="4">
                  <c:v>0.1911745765054369</c:v>
                </c:pt>
                <c:pt idx="5">
                  <c:v>2.9639351241718188E-2</c:v>
                </c:pt>
                <c:pt idx="6">
                  <c:v>0.125902533182875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5069982838566179E-2</c:v>
                </c:pt>
                <c:pt idx="4">
                  <c:v>2.8031118920153988E-2</c:v>
                </c:pt>
                <c:pt idx="5">
                  <c:v>2.179884792790977E-3</c:v>
                </c:pt>
                <c:pt idx="6">
                  <c:v>8.749450005869336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050051479843211</c:v>
                </c:pt>
                <c:pt idx="1">
                  <c:v>0.20415707198366714</c:v>
                </c:pt>
                <c:pt idx="2">
                  <c:v>3.5020148101943642E-2</c:v>
                </c:pt>
                <c:pt idx="3">
                  <c:v>0.21813190338652202</c:v>
                </c:pt>
                <c:pt idx="4">
                  <c:v>0.19447307684090834</c:v>
                </c:pt>
                <c:pt idx="5">
                  <c:v>2.6906499741585811E-2</c:v>
                </c:pt>
                <c:pt idx="6">
                  <c:v>0.100810785146940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407999722962304E-2</c:v>
                </c:pt>
                <c:pt idx="4">
                  <c:v>2.7824093592540788E-2</c:v>
                </c:pt>
                <c:pt idx="5">
                  <c:v>1.0968053984174446E-3</c:v>
                </c:pt>
                <c:pt idx="6">
                  <c:v>9.809648137964904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7178367512212368</c:v>
                </c:pt>
                <c:pt idx="1">
                  <c:v>0.27401386661525878</c:v>
                </c:pt>
                <c:pt idx="2">
                  <c:v>5.866806154514953E-2</c:v>
                </c:pt>
                <c:pt idx="3">
                  <c:v>0.20227419113305734</c:v>
                </c:pt>
                <c:pt idx="4">
                  <c:v>3.8883141916187233E-2</c:v>
                </c:pt>
                <c:pt idx="5">
                  <c:v>2.22420247911988E-2</c:v>
                </c:pt>
                <c:pt idx="6">
                  <c:v>3.213503887702463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4764580759444677E-2</c:v>
                </c:pt>
                <c:pt idx="4">
                  <c:v>1.1918114395029045E-2</c:v>
                </c:pt>
                <c:pt idx="5">
                  <c:v>1.7327013496574524E-3</c:v>
                </c:pt>
                <c:pt idx="6">
                  <c:v>8.4240273526564916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5237979434738663</c:v>
                </c:pt>
                <c:pt idx="4">
                  <c:v>8.7277618801427745E-2</c:v>
                </c:pt>
                <c:pt idx="5">
                  <c:v>0.19270874120502546</c:v>
                </c:pt>
                <c:pt idx="6">
                  <c:v>0.5676338456461602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Crema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6.4659144740859993E-3</c:v>
                </c:pt>
                <c:pt idx="5">
                  <c:v>1.7611804145293807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87766804714877344</c:v>
                </c:pt>
                <c:pt idx="6">
                  <c:v>0.1223319528512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6">
                  <c:v>0.12233195285122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5.5013231820186933E-3</c:v>
                </c:pt>
                <c:pt idx="4">
                  <c:v>9.7695181021392463E-3</c:v>
                </c:pt>
                <c:pt idx="5">
                  <c:v>1.3510103953034239E-2</c:v>
                </c:pt>
                <c:pt idx="6">
                  <c:v>2.3440149253016841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Emulsio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4583913026245198</c:v>
                </c:pt>
                <c:pt idx="1">
                  <c:v>0.4914595851343907</c:v>
                </c:pt>
                <c:pt idx="2">
                  <c:v>1.2849030110361134E-2</c:v>
                </c:pt>
                <c:pt idx="3">
                  <c:v>4.6895605146208316E-2</c:v>
                </c:pt>
                <c:pt idx="4">
                  <c:v>1.9392234946241896E-3</c:v>
                </c:pt>
                <c:pt idx="5">
                  <c:v>1.01742585196364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4271745192844238</c:v>
                </c:pt>
                <c:pt idx="1">
                  <c:v>0.58742365721863588</c:v>
                </c:pt>
                <c:pt idx="2">
                  <c:v>1.5154433036041857E-2</c:v>
                </c:pt>
                <c:pt idx="3">
                  <c:v>5.2466225081911511E-2</c:v>
                </c:pt>
                <c:pt idx="4">
                  <c:v>1.998176428375430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8875779925593945</c:v>
                </c:pt>
                <c:pt idx="1">
                  <c:v>0.5752159864784312</c:v>
                </c:pt>
                <c:pt idx="2">
                  <c:v>1.1465866538799985E-2</c:v>
                </c:pt>
                <c:pt idx="3">
                  <c:v>2.411937051886058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Fl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955335876672339E-2</c:v>
                </c:pt>
                <c:pt idx="1">
                  <c:v>0.47386830586363171</c:v>
                </c:pt>
                <c:pt idx="2">
                  <c:v>0.14579589568035858</c:v>
                </c:pt>
                <c:pt idx="3">
                  <c:v>9.9354668519163053E-2</c:v>
                </c:pt>
                <c:pt idx="4">
                  <c:v>0.21102529311791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4383755279408464</c:v>
                </c:pt>
                <c:pt idx="1">
                  <c:v>0.31880605087927877</c:v>
                </c:pt>
                <c:pt idx="2">
                  <c:v>0.12692761118319387</c:v>
                </c:pt>
                <c:pt idx="3">
                  <c:v>0.2509872878297742</c:v>
                </c:pt>
                <c:pt idx="4">
                  <c:v>5.4185838455291235E-2</c:v>
                </c:pt>
                <c:pt idx="5">
                  <c:v>5.255117474163054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8865541848837659</c:v>
                </c:pt>
                <c:pt idx="1">
                  <c:v>0.30250855854979869</c:v>
                </c:pt>
                <c:pt idx="2">
                  <c:v>0.18000402739537627</c:v>
                </c:pt>
                <c:pt idx="3">
                  <c:v>0.128830178028959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7097713774220162</c:v>
                </c:pt>
                <c:pt idx="4">
                  <c:v>0.529022862257798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6544538240817501</c:v>
                </c:pt>
                <c:pt idx="1">
                  <c:v>3.45546175918250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Gel-Crema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Gel-Crema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5792134007975338</c:v>
                </c:pt>
                <c:pt idx="1">
                  <c:v>4.20786599202465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37.xml"/><Relationship Id="rId3" Type="http://schemas.openxmlformats.org/officeDocument/2006/relationships/notesSlide" Target="../notesSlides/notesSlide10.xml"/><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35.xml"/><Relationship Id="rId11" Type="http://schemas.openxmlformats.org/officeDocument/2006/relationships/chart" Target="../charts/chart40.xml"/><Relationship Id="rId5" Type="http://schemas.openxmlformats.org/officeDocument/2006/relationships/image" Target="../media/image28.emf"/><Relationship Id="rId10" Type="http://schemas.openxmlformats.org/officeDocument/2006/relationships/chart" Target="../charts/chart39.xml"/><Relationship Id="rId4" Type="http://schemas.openxmlformats.org/officeDocument/2006/relationships/oleObject" Target="../embeddings/oleObject27.bin"/><Relationship Id="rId9" Type="http://schemas.openxmlformats.org/officeDocument/2006/relationships/chart" Target="../charts/chart38.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7" Type="http://schemas.openxmlformats.org/officeDocument/2006/relationships/chart" Target="../charts/chart392.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3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7" Type="http://schemas.openxmlformats.org/officeDocument/2006/relationships/chart" Target="../charts/chart394.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3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7" Type="http://schemas.openxmlformats.org/officeDocument/2006/relationships/chart" Target="../charts/chart396.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3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7" Type="http://schemas.openxmlformats.org/officeDocument/2006/relationships/chart" Target="../charts/chart398.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3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7" Type="http://schemas.openxmlformats.org/officeDocument/2006/relationships/chart" Target="../charts/chart400.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3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5.xml"/><Relationship Id="rId7" Type="http://schemas.openxmlformats.org/officeDocument/2006/relationships/chart" Target="../charts/chart402.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4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106.xml"/><Relationship Id="rId7" Type="http://schemas.openxmlformats.org/officeDocument/2006/relationships/chart" Target="../charts/chart404.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4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7.xml"/><Relationship Id="rId7" Type="http://schemas.openxmlformats.org/officeDocument/2006/relationships/chart" Target="../charts/chart406.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4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8.xml"/><Relationship Id="rId7" Type="http://schemas.openxmlformats.org/officeDocument/2006/relationships/chart" Target="../charts/chart408.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4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7" Type="http://schemas.openxmlformats.org/officeDocument/2006/relationships/chart" Target="../charts/chart410.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4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7" Type="http://schemas.openxmlformats.org/officeDocument/2006/relationships/chart" Target="../charts/chart412.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4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7" Type="http://schemas.openxmlformats.org/officeDocument/2006/relationships/chart" Target="../charts/chart414.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4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7" Type="http://schemas.openxmlformats.org/officeDocument/2006/relationships/chart" Target="../charts/chart416.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4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13.xml"/><Relationship Id="rId7" Type="http://schemas.openxmlformats.org/officeDocument/2006/relationships/chart" Target="../charts/chart418.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4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4.xml"/><Relationship Id="rId7" Type="http://schemas.openxmlformats.org/officeDocument/2006/relationships/chart" Target="../charts/chart420.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4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5.xml"/><Relationship Id="rId7" Type="http://schemas.openxmlformats.org/officeDocument/2006/relationships/chart" Target="../charts/chart422.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4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6.xml"/><Relationship Id="rId7" Type="http://schemas.openxmlformats.org/officeDocument/2006/relationships/chart" Target="../charts/chart424.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4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7.xml"/><Relationship Id="rId7" Type="http://schemas.openxmlformats.org/officeDocument/2006/relationships/chart" Target="../charts/chart426.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4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18.xml"/><Relationship Id="rId7" Type="http://schemas.openxmlformats.org/officeDocument/2006/relationships/chart" Target="../charts/chart428.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4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9.xml"/><Relationship Id="rId7" Type="http://schemas.openxmlformats.org/officeDocument/2006/relationships/chart" Target="../charts/chart430.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4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notesSlide" Target="../notesSlides/notesSlide12.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43.xml"/><Relationship Id="rId11" Type="http://schemas.openxmlformats.org/officeDocument/2006/relationships/chart" Target="../charts/chart48.xml"/><Relationship Id="rId5" Type="http://schemas.openxmlformats.org/officeDocument/2006/relationships/image" Target="../media/image28.emf"/><Relationship Id="rId10" Type="http://schemas.openxmlformats.org/officeDocument/2006/relationships/chart" Target="../charts/chart47.xml"/><Relationship Id="rId4" Type="http://schemas.openxmlformats.org/officeDocument/2006/relationships/oleObject" Target="../embeddings/oleObject27.bin"/><Relationship Id="rId9" Type="http://schemas.openxmlformats.org/officeDocument/2006/relationships/chart" Target="../charts/chart46.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20.xml"/><Relationship Id="rId7" Type="http://schemas.openxmlformats.org/officeDocument/2006/relationships/chart" Target="../charts/chart432.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4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21.xml"/><Relationship Id="rId7" Type="http://schemas.openxmlformats.org/officeDocument/2006/relationships/chart" Target="../charts/chart434.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4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22.xml"/><Relationship Id="rId7" Type="http://schemas.openxmlformats.org/officeDocument/2006/relationships/chart" Target="../charts/chart436.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4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7" Type="http://schemas.openxmlformats.org/officeDocument/2006/relationships/chart" Target="../charts/chart438.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4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24.xml"/><Relationship Id="rId7" Type="http://schemas.openxmlformats.org/officeDocument/2006/relationships/chart" Target="../charts/chart440.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4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7" Type="http://schemas.openxmlformats.org/officeDocument/2006/relationships/chart" Target="../charts/chart442.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4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6.xml"/><Relationship Id="rId7" Type="http://schemas.openxmlformats.org/officeDocument/2006/relationships/chart" Target="../charts/chart444.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4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7.xml"/><Relationship Id="rId7" Type="http://schemas.openxmlformats.org/officeDocument/2006/relationships/chart" Target="../charts/chart446.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4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8.xml"/><Relationship Id="rId7" Type="http://schemas.openxmlformats.org/officeDocument/2006/relationships/chart" Target="../charts/chart448.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4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9.xml"/><Relationship Id="rId7" Type="http://schemas.openxmlformats.org/officeDocument/2006/relationships/chart" Target="../charts/chart450.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4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0.xml"/><Relationship Id="rId7" Type="http://schemas.openxmlformats.org/officeDocument/2006/relationships/chart" Target="../charts/chart452.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4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31.xml"/><Relationship Id="rId7" Type="http://schemas.openxmlformats.org/officeDocument/2006/relationships/chart" Target="../charts/chart454.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4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32.xml"/><Relationship Id="rId7" Type="http://schemas.openxmlformats.org/officeDocument/2006/relationships/chart" Target="../charts/chart456.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4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33.xml"/><Relationship Id="rId7" Type="http://schemas.openxmlformats.org/officeDocument/2006/relationships/chart" Target="../charts/chart458.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4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34.xml"/><Relationship Id="rId7" Type="http://schemas.openxmlformats.org/officeDocument/2006/relationships/chart" Target="../charts/chart460.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4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35.xml"/><Relationship Id="rId7" Type="http://schemas.openxmlformats.org/officeDocument/2006/relationships/chart" Target="../charts/chart462.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4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6.xml"/><Relationship Id="rId7" Type="http://schemas.openxmlformats.org/officeDocument/2006/relationships/chart" Target="../charts/chart464.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4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137.xml"/><Relationship Id="rId7" Type="http://schemas.openxmlformats.org/officeDocument/2006/relationships/chart" Target="../charts/chart466.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4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138.xml"/><Relationship Id="rId7" Type="http://schemas.openxmlformats.org/officeDocument/2006/relationships/chart" Target="../charts/chart468.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4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139.xml"/><Relationship Id="rId7" Type="http://schemas.openxmlformats.org/officeDocument/2006/relationships/chart" Target="../charts/chart470.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4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4.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51.xml"/><Relationship Id="rId11" Type="http://schemas.openxmlformats.org/officeDocument/2006/relationships/chart" Target="../charts/chart56.xml"/><Relationship Id="rId5" Type="http://schemas.openxmlformats.org/officeDocument/2006/relationships/image" Target="../media/image28.emf"/><Relationship Id="rId10" Type="http://schemas.openxmlformats.org/officeDocument/2006/relationships/chart" Target="../charts/chart55.xml"/><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140.xml"/><Relationship Id="rId7" Type="http://schemas.openxmlformats.org/officeDocument/2006/relationships/chart" Target="../charts/chart472.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4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141.xml"/><Relationship Id="rId7" Type="http://schemas.openxmlformats.org/officeDocument/2006/relationships/chart" Target="../charts/chart474.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4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142.xml"/><Relationship Id="rId7" Type="http://schemas.openxmlformats.org/officeDocument/2006/relationships/chart" Target="../charts/chart476.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4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143.xml"/><Relationship Id="rId7" Type="http://schemas.openxmlformats.org/officeDocument/2006/relationships/chart" Target="../charts/chart478.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4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144.xml"/><Relationship Id="rId7" Type="http://schemas.openxmlformats.org/officeDocument/2006/relationships/chart" Target="../charts/chart480.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4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145.xml"/><Relationship Id="rId7" Type="http://schemas.openxmlformats.org/officeDocument/2006/relationships/chart" Target="../charts/chart482.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4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46.xml"/><Relationship Id="rId7" Type="http://schemas.openxmlformats.org/officeDocument/2006/relationships/chart" Target="../charts/chart484.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4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47.xml"/><Relationship Id="rId7" Type="http://schemas.openxmlformats.org/officeDocument/2006/relationships/chart" Target="../charts/chart486.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4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48.xml"/><Relationship Id="rId7" Type="http://schemas.openxmlformats.org/officeDocument/2006/relationships/chart" Target="../charts/chart488.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4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49.xml"/><Relationship Id="rId7" Type="http://schemas.openxmlformats.org/officeDocument/2006/relationships/chart" Target="../charts/chart490.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4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50.xml"/><Relationship Id="rId7" Type="http://schemas.openxmlformats.org/officeDocument/2006/relationships/chart" Target="../charts/chart492.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4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51.xml"/><Relationship Id="rId7" Type="http://schemas.openxmlformats.org/officeDocument/2006/relationships/chart" Target="../charts/chart494.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4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52.xml"/><Relationship Id="rId7" Type="http://schemas.openxmlformats.org/officeDocument/2006/relationships/chart" Target="../charts/chart496.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4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53.xml"/><Relationship Id="rId7" Type="http://schemas.openxmlformats.org/officeDocument/2006/relationships/chart" Target="../charts/chart498.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4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54.xml"/><Relationship Id="rId7" Type="http://schemas.openxmlformats.org/officeDocument/2006/relationships/chart" Target="../charts/chart500.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4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155.xml"/><Relationship Id="rId7" Type="http://schemas.openxmlformats.org/officeDocument/2006/relationships/chart" Target="../charts/chart502.xml"/><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5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6.xml.rels><?xml version="1.0" encoding="UTF-8" standalone="yes"?>
<Relationships xmlns="http://schemas.openxmlformats.org/package/2006/relationships"><Relationship Id="rId3" Type="http://schemas.openxmlformats.org/officeDocument/2006/relationships/notesSlide" Target="../notesSlides/notesSlide156.xml"/><Relationship Id="rId7" Type="http://schemas.openxmlformats.org/officeDocument/2006/relationships/chart" Target="../charts/chart504.xml"/><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5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7.xml.rels><?xml version="1.0" encoding="UTF-8" standalone="yes"?>
<Relationships xmlns="http://schemas.openxmlformats.org/package/2006/relationships"><Relationship Id="rId3" Type="http://schemas.openxmlformats.org/officeDocument/2006/relationships/notesSlide" Target="../notesSlides/notesSlide157.xml"/><Relationship Id="rId7" Type="http://schemas.openxmlformats.org/officeDocument/2006/relationships/chart" Target="../charts/chart506.xml"/><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chart" Target="../charts/chart5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158.xml"/><Relationship Id="rId7" Type="http://schemas.openxmlformats.org/officeDocument/2006/relationships/chart" Target="../charts/chart508.xml"/><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5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159.xml"/><Relationship Id="rId7" Type="http://schemas.openxmlformats.org/officeDocument/2006/relationships/chart" Target="../charts/chart510.xml"/><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chart" Target="../charts/chart5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notesSlide" Target="../notesSlides/notesSlide16.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59.xml"/><Relationship Id="rId11" Type="http://schemas.openxmlformats.org/officeDocument/2006/relationships/chart" Target="../charts/chart64.xml"/><Relationship Id="rId5" Type="http://schemas.openxmlformats.org/officeDocument/2006/relationships/image" Target="../media/image28.emf"/><Relationship Id="rId10" Type="http://schemas.openxmlformats.org/officeDocument/2006/relationships/chart" Target="../charts/chart63.xml"/><Relationship Id="rId4" Type="http://schemas.openxmlformats.org/officeDocument/2006/relationships/oleObject" Target="../embeddings/oleObject27.bin"/><Relationship Id="rId9" Type="http://schemas.openxmlformats.org/officeDocument/2006/relationships/chart" Target="../charts/chart62.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160.xml"/><Relationship Id="rId7" Type="http://schemas.openxmlformats.org/officeDocument/2006/relationships/chart" Target="../charts/chart512.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chart" Target="../charts/chart5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161.xml"/><Relationship Id="rId7" Type="http://schemas.openxmlformats.org/officeDocument/2006/relationships/chart" Target="../charts/chart514.xml"/><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chart" Target="../charts/chart5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162.xml"/><Relationship Id="rId7" Type="http://schemas.openxmlformats.org/officeDocument/2006/relationships/chart" Target="../charts/chart516.xml"/><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5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3.xml.rels><?xml version="1.0" encoding="UTF-8" standalone="yes"?>
<Relationships xmlns="http://schemas.openxmlformats.org/package/2006/relationships"><Relationship Id="rId3" Type="http://schemas.openxmlformats.org/officeDocument/2006/relationships/notesSlide" Target="../notesSlides/notesSlide163.xml"/><Relationship Id="rId7" Type="http://schemas.openxmlformats.org/officeDocument/2006/relationships/chart" Target="../charts/chart518.xml"/><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5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4.xml.rels><?xml version="1.0" encoding="UTF-8" standalone="yes"?>
<Relationships xmlns="http://schemas.openxmlformats.org/package/2006/relationships"><Relationship Id="rId3" Type="http://schemas.openxmlformats.org/officeDocument/2006/relationships/notesSlide" Target="../notesSlides/notesSlide164.xml"/><Relationship Id="rId7" Type="http://schemas.openxmlformats.org/officeDocument/2006/relationships/chart" Target="../charts/chart520.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5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5.xml.rels><?xml version="1.0" encoding="UTF-8" standalone="yes"?>
<Relationships xmlns="http://schemas.openxmlformats.org/package/2006/relationships"><Relationship Id="rId3" Type="http://schemas.openxmlformats.org/officeDocument/2006/relationships/notesSlide" Target="../notesSlides/notesSlide165.xml"/><Relationship Id="rId7" Type="http://schemas.openxmlformats.org/officeDocument/2006/relationships/chart" Target="../charts/chart522.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5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6.xml.rels><?xml version="1.0" encoding="UTF-8" standalone="yes"?>
<Relationships xmlns="http://schemas.openxmlformats.org/package/2006/relationships"><Relationship Id="rId3" Type="http://schemas.openxmlformats.org/officeDocument/2006/relationships/notesSlide" Target="../notesSlides/notesSlide166.xml"/><Relationship Id="rId7" Type="http://schemas.openxmlformats.org/officeDocument/2006/relationships/chart" Target="../charts/chart524.xml"/><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5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7.xml.rels><?xml version="1.0" encoding="UTF-8" standalone="yes"?>
<Relationships xmlns="http://schemas.openxmlformats.org/package/2006/relationships"><Relationship Id="rId3" Type="http://schemas.openxmlformats.org/officeDocument/2006/relationships/notesSlide" Target="../notesSlides/notesSlide167.xml"/><Relationship Id="rId7" Type="http://schemas.openxmlformats.org/officeDocument/2006/relationships/chart" Target="../charts/chart526.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5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168.xml"/><Relationship Id="rId7" Type="http://schemas.openxmlformats.org/officeDocument/2006/relationships/chart" Target="../charts/chart528.xml"/><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5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9.xml.rels><?xml version="1.0" encoding="UTF-8" standalone="yes"?>
<Relationships xmlns="http://schemas.openxmlformats.org/package/2006/relationships"><Relationship Id="rId3" Type="http://schemas.openxmlformats.org/officeDocument/2006/relationships/notesSlide" Target="../notesSlides/notesSlide169.xml"/><Relationship Id="rId7" Type="http://schemas.openxmlformats.org/officeDocument/2006/relationships/chart" Target="../charts/chart530.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5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170.xml"/><Relationship Id="rId7" Type="http://schemas.openxmlformats.org/officeDocument/2006/relationships/chart" Target="../charts/chart532.xml"/><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5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1.xml.rels><?xml version="1.0" encoding="UTF-8" standalone="yes"?>
<Relationships xmlns="http://schemas.openxmlformats.org/package/2006/relationships"><Relationship Id="rId3" Type="http://schemas.openxmlformats.org/officeDocument/2006/relationships/notesSlide" Target="../notesSlides/notesSlide171.xml"/><Relationship Id="rId7" Type="http://schemas.openxmlformats.org/officeDocument/2006/relationships/chart" Target="../charts/chart534.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5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2.xml.rels><?xml version="1.0" encoding="UTF-8" standalone="yes"?>
<Relationships xmlns="http://schemas.openxmlformats.org/package/2006/relationships"><Relationship Id="rId3" Type="http://schemas.openxmlformats.org/officeDocument/2006/relationships/notesSlide" Target="../notesSlides/notesSlide172.xml"/><Relationship Id="rId7" Type="http://schemas.openxmlformats.org/officeDocument/2006/relationships/chart" Target="../charts/chart536.xml"/><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5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173.xml"/><Relationship Id="rId7" Type="http://schemas.openxmlformats.org/officeDocument/2006/relationships/chart" Target="../charts/chart538.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5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174.xml"/><Relationship Id="rId7" Type="http://schemas.openxmlformats.org/officeDocument/2006/relationships/chart" Target="../charts/chart540.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5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175.xml"/><Relationship Id="rId7" Type="http://schemas.openxmlformats.org/officeDocument/2006/relationships/chart" Target="../charts/chart542.xml"/><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5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176.xml"/><Relationship Id="rId7" Type="http://schemas.openxmlformats.org/officeDocument/2006/relationships/chart" Target="../charts/chart544.xml"/><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5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77.xml"/><Relationship Id="rId7" Type="http://schemas.openxmlformats.org/officeDocument/2006/relationships/chart" Target="../charts/chart546.xml"/><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5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78.xml"/><Relationship Id="rId7" Type="http://schemas.openxmlformats.org/officeDocument/2006/relationships/chart" Target="../charts/chart548.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5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9.xml.rels><?xml version="1.0" encoding="UTF-8" standalone="yes"?>
<Relationships xmlns="http://schemas.openxmlformats.org/package/2006/relationships"><Relationship Id="rId3" Type="http://schemas.openxmlformats.org/officeDocument/2006/relationships/notesSlide" Target="../notesSlides/notesSlide179.xml"/><Relationship Id="rId7" Type="http://schemas.openxmlformats.org/officeDocument/2006/relationships/chart" Target="../charts/chart550.xml"/><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5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69.xml"/><Relationship Id="rId3" Type="http://schemas.openxmlformats.org/officeDocument/2006/relationships/notesSlide" Target="../notesSlides/notesSlide18.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67.xml"/><Relationship Id="rId11" Type="http://schemas.openxmlformats.org/officeDocument/2006/relationships/chart" Target="../charts/chart72.xml"/><Relationship Id="rId5" Type="http://schemas.openxmlformats.org/officeDocument/2006/relationships/image" Target="../media/image28.emf"/><Relationship Id="rId10" Type="http://schemas.openxmlformats.org/officeDocument/2006/relationships/chart" Target="../charts/chart71.xml"/><Relationship Id="rId4" Type="http://schemas.openxmlformats.org/officeDocument/2006/relationships/oleObject" Target="../embeddings/oleObject27.bin"/><Relationship Id="rId9" Type="http://schemas.openxmlformats.org/officeDocument/2006/relationships/chart" Target="../charts/chart70.xml"/></Relationships>
</file>

<file path=ppt/slides/_rels/slide180.xml.rels><?xml version="1.0" encoding="UTF-8" standalone="yes"?>
<Relationships xmlns="http://schemas.openxmlformats.org/package/2006/relationships"><Relationship Id="rId3" Type="http://schemas.openxmlformats.org/officeDocument/2006/relationships/notesSlide" Target="../notesSlides/notesSlide180.xml"/><Relationship Id="rId7" Type="http://schemas.openxmlformats.org/officeDocument/2006/relationships/chart" Target="../charts/chart552.xml"/><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5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181.xml"/><Relationship Id="rId7" Type="http://schemas.openxmlformats.org/officeDocument/2006/relationships/chart" Target="../charts/chart554.xml"/><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5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2.xml.rels><?xml version="1.0" encoding="UTF-8" standalone="yes"?>
<Relationships xmlns="http://schemas.openxmlformats.org/package/2006/relationships"><Relationship Id="rId3" Type="http://schemas.openxmlformats.org/officeDocument/2006/relationships/notesSlide" Target="../notesSlides/notesSlide182.xml"/><Relationship Id="rId7" Type="http://schemas.openxmlformats.org/officeDocument/2006/relationships/chart" Target="../charts/chart556.xml"/><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5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3.xml.rels><?xml version="1.0" encoding="UTF-8" standalone="yes"?>
<Relationships xmlns="http://schemas.openxmlformats.org/package/2006/relationships"><Relationship Id="rId3" Type="http://schemas.openxmlformats.org/officeDocument/2006/relationships/notesSlide" Target="../notesSlides/notesSlide183.xml"/><Relationship Id="rId7" Type="http://schemas.openxmlformats.org/officeDocument/2006/relationships/chart" Target="../charts/chart558.xml"/><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5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184.xml"/><Relationship Id="rId7" Type="http://schemas.openxmlformats.org/officeDocument/2006/relationships/chart" Target="../charts/chart560.xml"/><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5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185.xml"/><Relationship Id="rId7" Type="http://schemas.openxmlformats.org/officeDocument/2006/relationships/chart" Target="../charts/chart562.xml"/><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5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186.xml"/><Relationship Id="rId7" Type="http://schemas.openxmlformats.org/officeDocument/2006/relationships/chart" Target="../charts/chart564.xml"/><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5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187.xml"/><Relationship Id="rId7" Type="http://schemas.openxmlformats.org/officeDocument/2006/relationships/chart" Target="../charts/chart566.xml"/><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5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88.xml"/><Relationship Id="rId7" Type="http://schemas.openxmlformats.org/officeDocument/2006/relationships/chart" Target="../charts/chart568.xml"/><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5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189.xml"/><Relationship Id="rId7" Type="http://schemas.openxmlformats.org/officeDocument/2006/relationships/chart" Target="../charts/chart570.xml"/><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5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90.xml"/><Relationship Id="rId7" Type="http://schemas.openxmlformats.org/officeDocument/2006/relationships/chart" Target="../charts/chart572.xml"/><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5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1.xml.rels><?xml version="1.0" encoding="UTF-8" standalone="yes"?>
<Relationships xmlns="http://schemas.openxmlformats.org/package/2006/relationships"><Relationship Id="rId3" Type="http://schemas.openxmlformats.org/officeDocument/2006/relationships/notesSlide" Target="../notesSlides/notesSlide191.xml"/><Relationship Id="rId7" Type="http://schemas.openxmlformats.org/officeDocument/2006/relationships/chart" Target="../charts/chart574.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5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192.xml"/><Relationship Id="rId7" Type="http://schemas.openxmlformats.org/officeDocument/2006/relationships/chart" Target="../charts/chart576.xml"/><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5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11" Type="http://schemas.openxmlformats.org/officeDocument/2006/relationships/chart" Target="../charts/chart8.xml"/><Relationship Id="rId5" Type="http://schemas.openxmlformats.org/officeDocument/2006/relationships/image" Target="../media/image28.emf"/><Relationship Id="rId10" Type="http://schemas.openxmlformats.org/officeDocument/2006/relationships/chart" Target="../charts/chart7.xml"/><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0.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75.xml"/><Relationship Id="rId11" Type="http://schemas.openxmlformats.org/officeDocument/2006/relationships/chart" Target="../charts/chart80.xml"/><Relationship Id="rId5" Type="http://schemas.openxmlformats.org/officeDocument/2006/relationships/image" Target="../media/image28.emf"/><Relationship Id="rId10" Type="http://schemas.openxmlformats.org/officeDocument/2006/relationships/chart" Target="../charts/chart79.xml"/><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85.xml"/><Relationship Id="rId3" Type="http://schemas.openxmlformats.org/officeDocument/2006/relationships/notesSlide" Target="../notesSlides/notesSlide22.xml"/><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83.xml"/><Relationship Id="rId11" Type="http://schemas.openxmlformats.org/officeDocument/2006/relationships/chart" Target="../charts/chart88.xml"/><Relationship Id="rId5" Type="http://schemas.openxmlformats.org/officeDocument/2006/relationships/image" Target="../media/image28.emf"/><Relationship Id="rId10" Type="http://schemas.openxmlformats.org/officeDocument/2006/relationships/chart" Target="../charts/chart87.xml"/><Relationship Id="rId4" Type="http://schemas.openxmlformats.org/officeDocument/2006/relationships/oleObject" Target="../embeddings/oleObject27.bin"/><Relationship Id="rId9" Type="http://schemas.openxmlformats.org/officeDocument/2006/relationships/chart" Target="../charts/chart8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93.xml"/><Relationship Id="rId3" Type="http://schemas.openxmlformats.org/officeDocument/2006/relationships/notesSlide" Target="../notesSlides/notesSlide24.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91.xml"/><Relationship Id="rId11" Type="http://schemas.openxmlformats.org/officeDocument/2006/relationships/chart" Target="../charts/chart96.xml"/><Relationship Id="rId5" Type="http://schemas.openxmlformats.org/officeDocument/2006/relationships/image" Target="../media/image28.emf"/><Relationship Id="rId10" Type="http://schemas.openxmlformats.org/officeDocument/2006/relationships/chart" Target="../charts/chart95.xml"/><Relationship Id="rId4" Type="http://schemas.openxmlformats.org/officeDocument/2006/relationships/oleObject" Target="../embeddings/oleObject27.bin"/><Relationship Id="rId9" Type="http://schemas.openxmlformats.org/officeDocument/2006/relationships/chart" Target="../charts/chart9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26.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99.xml"/><Relationship Id="rId11" Type="http://schemas.openxmlformats.org/officeDocument/2006/relationships/chart" Target="../charts/chart104.xml"/><Relationship Id="rId5" Type="http://schemas.openxmlformats.org/officeDocument/2006/relationships/image" Target="../media/image28.emf"/><Relationship Id="rId10" Type="http://schemas.openxmlformats.org/officeDocument/2006/relationships/chart" Target="../charts/chart103.xml"/><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109.xml"/><Relationship Id="rId3" Type="http://schemas.openxmlformats.org/officeDocument/2006/relationships/notesSlide" Target="../notesSlides/notesSlide28.xml"/><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107.xml"/><Relationship Id="rId11" Type="http://schemas.openxmlformats.org/officeDocument/2006/relationships/chart" Target="../charts/chart112.xml"/><Relationship Id="rId5" Type="http://schemas.openxmlformats.org/officeDocument/2006/relationships/image" Target="../media/image28.emf"/><Relationship Id="rId10" Type="http://schemas.openxmlformats.org/officeDocument/2006/relationships/chart" Target="../charts/chart111.xml"/><Relationship Id="rId4" Type="http://schemas.openxmlformats.org/officeDocument/2006/relationships/oleObject" Target="../embeddings/oleObject27.bin"/><Relationship Id="rId9" Type="http://schemas.openxmlformats.org/officeDocument/2006/relationships/chart" Target="../charts/chart110.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117.xml"/><Relationship Id="rId3" Type="http://schemas.openxmlformats.org/officeDocument/2006/relationships/notesSlide" Target="../notesSlides/notesSlide30.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115.xml"/><Relationship Id="rId11" Type="http://schemas.openxmlformats.org/officeDocument/2006/relationships/chart" Target="../charts/chart120.xml"/><Relationship Id="rId5" Type="http://schemas.openxmlformats.org/officeDocument/2006/relationships/image" Target="../media/image28.emf"/><Relationship Id="rId10" Type="http://schemas.openxmlformats.org/officeDocument/2006/relationships/chart" Target="../charts/chart119.xml"/><Relationship Id="rId4" Type="http://schemas.openxmlformats.org/officeDocument/2006/relationships/oleObject" Target="../embeddings/oleObject27.bin"/><Relationship Id="rId9" Type="http://schemas.openxmlformats.org/officeDocument/2006/relationships/chart" Target="../charts/chart11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3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123.xml"/><Relationship Id="rId11" Type="http://schemas.openxmlformats.org/officeDocument/2006/relationships/chart" Target="../charts/chart128.xml"/><Relationship Id="rId5" Type="http://schemas.openxmlformats.org/officeDocument/2006/relationships/image" Target="../media/image28.emf"/><Relationship Id="rId10" Type="http://schemas.openxmlformats.org/officeDocument/2006/relationships/chart" Target="../charts/chart127.xml"/><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33.xml"/><Relationship Id="rId3" Type="http://schemas.openxmlformats.org/officeDocument/2006/relationships/notesSlide" Target="../notesSlides/notesSlide34.xml"/><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31.xml"/><Relationship Id="rId11" Type="http://schemas.openxmlformats.org/officeDocument/2006/relationships/chart" Target="../charts/chart136.xml"/><Relationship Id="rId5" Type="http://schemas.openxmlformats.org/officeDocument/2006/relationships/image" Target="../media/image28.emf"/><Relationship Id="rId10" Type="http://schemas.openxmlformats.org/officeDocument/2006/relationships/chart" Target="../charts/chart135.xml"/><Relationship Id="rId4" Type="http://schemas.openxmlformats.org/officeDocument/2006/relationships/oleObject" Target="../embeddings/oleObject27.bin"/><Relationship Id="rId9" Type="http://schemas.openxmlformats.org/officeDocument/2006/relationships/chart" Target="../charts/chart13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41.xml"/><Relationship Id="rId3" Type="http://schemas.openxmlformats.org/officeDocument/2006/relationships/notesSlide" Target="../notesSlides/notesSlide36.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39.xml"/><Relationship Id="rId11" Type="http://schemas.openxmlformats.org/officeDocument/2006/relationships/chart" Target="../charts/chart144.xml"/><Relationship Id="rId5" Type="http://schemas.openxmlformats.org/officeDocument/2006/relationships/image" Target="../media/image28.emf"/><Relationship Id="rId10" Type="http://schemas.openxmlformats.org/officeDocument/2006/relationships/chart" Target="../charts/chart143.xml"/><Relationship Id="rId4" Type="http://schemas.openxmlformats.org/officeDocument/2006/relationships/oleObject" Target="../embeddings/oleObject27.bin"/><Relationship Id="rId9" Type="http://schemas.openxmlformats.org/officeDocument/2006/relationships/chart" Target="../charts/chart142.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38.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47.xml"/><Relationship Id="rId11" Type="http://schemas.openxmlformats.org/officeDocument/2006/relationships/chart" Target="../charts/chart152.xml"/><Relationship Id="rId5" Type="http://schemas.openxmlformats.org/officeDocument/2006/relationships/image" Target="../media/image28.emf"/><Relationship Id="rId10" Type="http://schemas.openxmlformats.org/officeDocument/2006/relationships/chart" Target="../charts/chart151.xml"/><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notesSlide" Target="../notesSlides/notesSlide4.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11" Type="http://schemas.openxmlformats.org/officeDocument/2006/relationships/chart" Target="../charts/chart16.xml"/><Relationship Id="rId5" Type="http://schemas.openxmlformats.org/officeDocument/2006/relationships/image" Target="../media/image28.emf"/><Relationship Id="rId10" Type="http://schemas.openxmlformats.org/officeDocument/2006/relationships/chart" Target="../charts/chart15.xml"/><Relationship Id="rId4" Type="http://schemas.openxmlformats.org/officeDocument/2006/relationships/oleObject" Target="../embeddings/oleObject27.bin"/><Relationship Id="rId9" Type="http://schemas.openxmlformats.org/officeDocument/2006/relationships/chart" Target="../charts/chart14.xml"/></Relationships>
</file>

<file path=ppt/slides/_rels/slide40.xml.rels><?xml version="1.0" encoding="UTF-8" standalone="yes"?>
<Relationships xmlns="http://schemas.openxmlformats.org/package/2006/relationships"><Relationship Id="rId8" Type="http://schemas.openxmlformats.org/officeDocument/2006/relationships/chart" Target="../charts/chart157.xml"/><Relationship Id="rId3" Type="http://schemas.openxmlformats.org/officeDocument/2006/relationships/notesSlide" Target="../notesSlides/notesSlide40.xml"/><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55.xml"/><Relationship Id="rId11" Type="http://schemas.openxmlformats.org/officeDocument/2006/relationships/chart" Target="../charts/chart160.xml"/><Relationship Id="rId5" Type="http://schemas.openxmlformats.org/officeDocument/2006/relationships/image" Target="../media/image28.emf"/><Relationship Id="rId10" Type="http://schemas.openxmlformats.org/officeDocument/2006/relationships/chart" Target="../charts/chart159.xml"/><Relationship Id="rId4" Type="http://schemas.openxmlformats.org/officeDocument/2006/relationships/oleObject" Target="../embeddings/oleObject27.bin"/><Relationship Id="rId9" Type="http://schemas.openxmlformats.org/officeDocument/2006/relationships/chart" Target="../charts/chart158.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65.xml"/><Relationship Id="rId3" Type="http://schemas.openxmlformats.org/officeDocument/2006/relationships/notesSlide" Target="../notesSlides/notesSlide42.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63.xml"/><Relationship Id="rId11" Type="http://schemas.openxmlformats.org/officeDocument/2006/relationships/chart" Target="../charts/chart168.xml"/><Relationship Id="rId5" Type="http://schemas.openxmlformats.org/officeDocument/2006/relationships/image" Target="../media/image28.emf"/><Relationship Id="rId10" Type="http://schemas.openxmlformats.org/officeDocument/2006/relationships/chart" Target="../charts/chart167.xml"/><Relationship Id="rId4" Type="http://schemas.openxmlformats.org/officeDocument/2006/relationships/oleObject" Target="../embeddings/oleObject27.bin"/><Relationship Id="rId9" Type="http://schemas.openxmlformats.org/officeDocument/2006/relationships/chart" Target="../charts/chart16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44.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71.xml"/><Relationship Id="rId11" Type="http://schemas.openxmlformats.org/officeDocument/2006/relationships/chart" Target="../charts/chart176.xml"/><Relationship Id="rId5" Type="http://schemas.openxmlformats.org/officeDocument/2006/relationships/image" Target="../media/image28.emf"/><Relationship Id="rId10" Type="http://schemas.openxmlformats.org/officeDocument/2006/relationships/chart" Target="../charts/chart175.xml"/><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81.xml"/><Relationship Id="rId3" Type="http://schemas.openxmlformats.org/officeDocument/2006/relationships/notesSlide" Target="../notesSlides/notesSlide46.xml"/><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79.xml"/><Relationship Id="rId11" Type="http://schemas.openxmlformats.org/officeDocument/2006/relationships/chart" Target="../charts/chart184.xml"/><Relationship Id="rId5" Type="http://schemas.openxmlformats.org/officeDocument/2006/relationships/image" Target="../media/image28.emf"/><Relationship Id="rId10" Type="http://schemas.openxmlformats.org/officeDocument/2006/relationships/chart" Target="../charts/chart183.xml"/><Relationship Id="rId4" Type="http://schemas.openxmlformats.org/officeDocument/2006/relationships/oleObject" Target="../embeddings/oleObject27.bin"/><Relationship Id="rId9" Type="http://schemas.openxmlformats.org/officeDocument/2006/relationships/chart" Target="../charts/chart182.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89.xml"/><Relationship Id="rId3" Type="http://schemas.openxmlformats.org/officeDocument/2006/relationships/notesSlide" Target="../notesSlides/notesSlide48.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87.xml"/><Relationship Id="rId11" Type="http://schemas.openxmlformats.org/officeDocument/2006/relationships/chart" Target="../charts/chart192.xml"/><Relationship Id="rId5" Type="http://schemas.openxmlformats.org/officeDocument/2006/relationships/image" Target="../media/image28.emf"/><Relationship Id="rId10" Type="http://schemas.openxmlformats.org/officeDocument/2006/relationships/chart" Target="../charts/chart191.xml"/><Relationship Id="rId4" Type="http://schemas.openxmlformats.org/officeDocument/2006/relationships/oleObject" Target="../embeddings/oleObject27.bin"/><Relationship Id="rId9" Type="http://schemas.openxmlformats.org/officeDocument/2006/relationships/chart" Target="../charts/chart19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50.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95.xml"/><Relationship Id="rId11" Type="http://schemas.openxmlformats.org/officeDocument/2006/relationships/chart" Target="../charts/chart200.xml"/><Relationship Id="rId5" Type="http://schemas.openxmlformats.org/officeDocument/2006/relationships/image" Target="../media/image28.emf"/><Relationship Id="rId10" Type="http://schemas.openxmlformats.org/officeDocument/2006/relationships/chart" Target="../charts/chart199.xml"/><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20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2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205.xml"/><Relationship Id="rId3" Type="http://schemas.openxmlformats.org/officeDocument/2006/relationships/notesSlide" Target="../notesSlides/notesSlide52.xml"/><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203.xml"/><Relationship Id="rId11" Type="http://schemas.openxmlformats.org/officeDocument/2006/relationships/chart" Target="../charts/chart208.xml"/><Relationship Id="rId5" Type="http://schemas.openxmlformats.org/officeDocument/2006/relationships/image" Target="../media/image28.emf"/><Relationship Id="rId10" Type="http://schemas.openxmlformats.org/officeDocument/2006/relationships/chart" Target="../charts/chart207.xml"/><Relationship Id="rId4" Type="http://schemas.openxmlformats.org/officeDocument/2006/relationships/oleObject" Target="../embeddings/oleObject27.bin"/><Relationship Id="rId9" Type="http://schemas.openxmlformats.org/officeDocument/2006/relationships/chart" Target="../charts/chart20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2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213.xml"/><Relationship Id="rId3" Type="http://schemas.openxmlformats.org/officeDocument/2006/relationships/notesSlide" Target="../notesSlides/notesSlide54.xml"/><Relationship Id="rId7" Type="http://schemas.openxmlformats.org/officeDocument/2006/relationships/chart" Target="../charts/chart21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211.xml"/><Relationship Id="rId11" Type="http://schemas.openxmlformats.org/officeDocument/2006/relationships/chart" Target="../charts/chart216.xml"/><Relationship Id="rId5" Type="http://schemas.openxmlformats.org/officeDocument/2006/relationships/image" Target="../media/image28.emf"/><Relationship Id="rId10" Type="http://schemas.openxmlformats.org/officeDocument/2006/relationships/chart" Target="../charts/chart215.xml"/><Relationship Id="rId4" Type="http://schemas.openxmlformats.org/officeDocument/2006/relationships/oleObject" Target="../embeddings/oleObject27.bin"/><Relationship Id="rId9" Type="http://schemas.openxmlformats.org/officeDocument/2006/relationships/chart" Target="../charts/chart214.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218.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2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221.xml"/><Relationship Id="rId3" Type="http://schemas.openxmlformats.org/officeDocument/2006/relationships/notesSlide" Target="../notesSlides/notesSlide56.xml"/><Relationship Id="rId7" Type="http://schemas.openxmlformats.org/officeDocument/2006/relationships/chart" Target="../charts/chart220.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219.xml"/><Relationship Id="rId11" Type="http://schemas.openxmlformats.org/officeDocument/2006/relationships/chart" Target="../charts/chart224.xml"/><Relationship Id="rId5" Type="http://schemas.openxmlformats.org/officeDocument/2006/relationships/image" Target="../media/image28.emf"/><Relationship Id="rId10" Type="http://schemas.openxmlformats.org/officeDocument/2006/relationships/chart" Target="../charts/chart223.xml"/><Relationship Id="rId4" Type="http://schemas.openxmlformats.org/officeDocument/2006/relationships/oleObject" Target="../embeddings/oleObject27.bin"/><Relationship Id="rId9" Type="http://schemas.openxmlformats.org/officeDocument/2006/relationships/chart" Target="../charts/chart222.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226.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2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229.xml"/><Relationship Id="rId3" Type="http://schemas.openxmlformats.org/officeDocument/2006/relationships/notesSlide" Target="../notesSlides/notesSlide58.xml"/><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227.xml"/><Relationship Id="rId11" Type="http://schemas.openxmlformats.org/officeDocument/2006/relationships/chart" Target="../charts/chart232.xml"/><Relationship Id="rId5" Type="http://schemas.openxmlformats.org/officeDocument/2006/relationships/image" Target="../media/image28.emf"/><Relationship Id="rId10" Type="http://schemas.openxmlformats.org/officeDocument/2006/relationships/chart" Target="../charts/chart231.xml"/><Relationship Id="rId4" Type="http://schemas.openxmlformats.org/officeDocument/2006/relationships/oleObject" Target="../embeddings/oleObject27.bin"/><Relationship Id="rId9" Type="http://schemas.openxmlformats.org/officeDocument/2006/relationships/chart" Target="../charts/chart230.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2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notesSlide" Target="../notesSlides/notesSlide6.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9.xml"/><Relationship Id="rId11" Type="http://schemas.openxmlformats.org/officeDocument/2006/relationships/chart" Target="../charts/chart24.xml"/><Relationship Id="rId5" Type="http://schemas.openxmlformats.org/officeDocument/2006/relationships/image" Target="../media/image28.emf"/><Relationship Id="rId10" Type="http://schemas.openxmlformats.org/officeDocument/2006/relationships/chart" Target="../charts/chart23.xml"/><Relationship Id="rId4" Type="http://schemas.openxmlformats.org/officeDocument/2006/relationships/oleObject" Target="../embeddings/oleObject27.bin"/><Relationship Id="rId9" Type="http://schemas.openxmlformats.org/officeDocument/2006/relationships/chart" Target="../charts/chart22.xml"/></Relationships>
</file>

<file path=ppt/slides/_rels/slide60.xml.rels><?xml version="1.0" encoding="UTF-8" standalone="yes"?>
<Relationships xmlns="http://schemas.openxmlformats.org/package/2006/relationships"><Relationship Id="rId8" Type="http://schemas.openxmlformats.org/officeDocument/2006/relationships/chart" Target="../charts/chart237.xml"/><Relationship Id="rId3" Type="http://schemas.openxmlformats.org/officeDocument/2006/relationships/notesSlide" Target="../notesSlides/notesSlide60.xml"/><Relationship Id="rId7" Type="http://schemas.openxmlformats.org/officeDocument/2006/relationships/chart" Target="../charts/chart236.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235.xml"/><Relationship Id="rId11" Type="http://schemas.openxmlformats.org/officeDocument/2006/relationships/chart" Target="../charts/chart240.xml"/><Relationship Id="rId5" Type="http://schemas.openxmlformats.org/officeDocument/2006/relationships/image" Target="../media/image28.emf"/><Relationship Id="rId10" Type="http://schemas.openxmlformats.org/officeDocument/2006/relationships/chart" Target="../charts/chart239.xml"/><Relationship Id="rId4" Type="http://schemas.openxmlformats.org/officeDocument/2006/relationships/oleObject" Target="../embeddings/oleObject27.bin"/><Relationship Id="rId9" Type="http://schemas.openxmlformats.org/officeDocument/2006/relationships/chart" Target="../charts/chart238.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24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2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245.xml"/><Relationship Id="rId3" Type="http://schemas.openxmlformats.org/officeDocument/2006/relationships/notesSlide" Target="../notesSlides/notesSlide62.xml"/><Relationship Id="rId7" Type="http://schemas.openxmlformats.org/officeDocument/2006/relationships/chart" Target="../charts/chart24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243.xml"/><Relationship Id="rId11" Type="http://schemas.openxmlformats.org/officeDocument/2006/relationships/chart" Target="../charts/chart248.xml"/><Relationship Id="rId5" Type="http://schemas.openxmlformats.org/officeDocument/2006/relationships/image" Target="../media/image28.emf"/><Relationship Id="rId10" Type="http://schemas.openxmlformats.org/officeDocument/2006/relationships/chart" Target="../charts/chart247.xml"/><Relationship Id="rId4" Type="http://schemas.openxmlformats.org/officeDocument/2006/relationships/oleObject" Target="../embeddings/oleObject27.bin"/><Relationship Id="rId9" Type="http://schemas.openxmlformats.org/officeDocument/2006/relationships/chart" Target="../charts/chart24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250.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2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253.xml"/><Relationship Id="rId3" Type="http://schemas.openxmlformats.org/officeDocument/2006/relationships/notesSlide" Target="../notesSlides/notesSlide64.xml"/><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251.xml"/><Relationship Id="rId11" Type="http://schemas.openxmlformats.org/officeDocument/2006/relationships/chart" Target="../charts/chart256.xml"/><Relationship Id="rId5" Type="http://schemas.openxmlformats.org/officeDocument/2006/relationships/image" Target="../media/image28.emf"/><Relationship Id="rId10" Type="http://schemas.openxmlformats.org/officeDocument/2006/relationships/chart" Target="../charts/chart255.xml"/><Relationship Id="rId4" Type="http://schemas.openxmlformats.org/officeDocument/2006/relationships/oleObject" Target="../embeddings/oleObject27.bin"/><Relationship Id="rId9" Type="http://schemas.openxmlformats.org/officeDocument/2006/relationships/chart" Target="../charts/chart254.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2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261.xml"/><Relationship Id="rId3" Type="http://schemas.openxmlformats.org/officeDocument/2006/relationships/notesSlide" Target="../notesSlides/notesSlide66.xml"/><Relationship Id="rId7" Type="http://schemas.openxmlformats.org/officeDocument/2006/relationships/chart" Target="../charts/chart260.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259.xml"/><Relationship Id="rId11" Type="http://schemas.openxmlformats.org/officeDocument/2006/relationships/chart" Target="../charts/chart264.xml"/><Relationship Id="rId5" Type="http://schemas.openxmlformats.org/officeDocument/2006/relationships/image" Target="../media/image28.emf"/><Relationship Id="rId10" Type="http://schemas.openxmlformats.org/officeDocument/2006/relationships/chart" Target="../charts/chart263.xml"/><Relationship Id="rId4" Type="http://schemas.openxmlformats.org/officeDocument/2006/relationships/oleObject" Target="../embeddings/oleObject27.bin"/><Relationship Id="rId9" Type="http://schemas.openxmlformats.org/officeDocument/2006/relationships/chart" Target="../charts/chart26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chart" Target="../charts/chart266.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8" Type="http://schemas.openxmlformats.org/officeDocument/2006/relationships/chart" Target="../charts/chart269.xml"/><Relationship Id="rId3" Type="http://schemas.openxmlformats.org/officeDocument/2006/relationships/notesSlide" Target="../notesSlides/notesSlide68.xml"/><Relationship Id="rId7" Type="http://schemas.openxmlformats.org/officeDocument/2006/relationships/chart" Target="../charts/chart26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67.xml"/><Relationship Id="rId11" Type="http://schemas.openxmlformats.org/officeDocument/2006/relationships/chart" Target="../charts/chart272.xml"/><Relationship Id="rId5" Type="http://schemas.openxmlformats.org/officeDocument/2006/relationships/image" Target="../media/image28.emf"/><Relationship Id="rId10" Type="http://schemas.openxmlformats.org/officeDocument/2006/relationships/chart" Target="../charts/chart271.xml"/><Relationship Id="rId4" Type="http://schemas.openxmlformats.org/officeDocument/2006/relationships/oleObject" Target="../embeddings/oleObject27.bin"/><Relationship Id="rId9" Type="http://schemas.openxmlformats.org/officeDocument/2006/relationships/chart" Target="../charts/chart27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chart" Target="../charts/chart274.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8" Type="http://schemas.openxmlformats.org/officeDocument/2006/relationships/chart" Target="../charts/chart277.xml"/><Relationship Id="rId3" Type="http://schemas.openxmlformats.org/officeDocument/2006/relationships/notesSlide" Target="../notesSlides/notesSlide70.xml"/><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75.xml"/><Relationship Id="rId11" Type="http://schemas.openxmlformats.org/officeDocument/2006/relationships/chart" Target="../charts/chart280.xml"/><Relationship Id="rId5" Type="http://schemas.openxmlformats.org/officeDocument/2006/relationships/image" Target="../media/image28.emf"/><Relationship Id="rId10" Type="http://schemas.openxmlformats.org/officeDocument/2006/relationships/chart" Target="../charts/chart279.xml"/><Relationship Id="rId4" Type="http://schemas.openxmlformats.org/officeDocument/2006/relationships/oleObject" Target="../embeddings/oleObject27.bin"/><Relationship Id="rId9" Type="http://schemas.openxmlformats.org/officeDocument/2006/relationships/chart" Target="../charts/chart278.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8" Type="http://schemas.openxmlformats.org/officeDocument/2006/relationships/chart" Target="../charts/chart285.xml"/><Relationship Id="rId3" Type="http://schemas.openxmlformats.org/officeDocument/2006/relationships/notesSlide" Target="../notesSlides/notesSlide72.xml"/><Relationship Id="rId7" Type="http://schemas.openxmlformats.org/officeDocument/2006/relationships/chart" Target="../charts/chart284.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83.xml"/><Relationship Id="rId11" Type="http://schemas.openxmlformats.org/officeDocument/2006/relationships/chart" Target="../charts/chart288.xml"/><Relationship Id="rId5" Type="http://schemas.openxmlformats.org/officeDocument/2006/relationships/image" Target="../media/image28.emf"/><Relationship Id="rId10" Type="http://schemas.openxmlformats.org/officeDocument/2006/relationships/chart" Target="../charts/chart287.xml"/><Relationship Id="rId4" Type="http://schemas.openxmlformats.org/officeDocument/2006/relationships/oleObject" Target="../embeddings/oleObject27.bin"/><Relationship Id="rId9" Type="http://schemas.openxmlformats.org/officeDocument/2006/relationships/chart" Target="../charts/chart286.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chart" Target="../charts/chart290.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4.xml.rels><?xml version="1.0" encoding="UTF-8" standalone="yes"?>
<Relationships xmlns="http://schemas.openxmlformats.org/package/2006/relationships"><Relationship Id="rId8" Type="http://schemas.openxmlformats.org/officeDocument/2006/relationships/chart" Target="../charts/chart293.xml"/><Relationship Id="rId3" Type="http://schemas.openxmlformats.org/officeDocument/2006/relationships/notesSlide" Target="../notesSlides/notesSlide74.xml"/><Relationship Id="rId7" Type="http://schemas.openxmlformats.org/officeDocument/2006/relationships/chart" Target="../charts/chart29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91.xml"/><Relationship Id="rId11" Type="http://schemas.openxmlformats.org/officeDocument/2006/relationships/chart" Target="../charts/chart296.xml"/><Relationship Id="rId5" Type="http://schemas.openxmlformats.org/officeDocument/2006/relationships/image" Target="../media/image28.emf"/><Relationship Id="rId10" Type="http://schemas.openxmlformats.org/officeDocument/2006/relationships/chart" Target="../charts/chart295.xml"/><Relationship Id="rId4" Type="http://schemas.openxmlformats.org/officeDocument/2006/relationships/oleObject" Target="../embeddings/oleObject27.bin"/><Relationship Id="rId9" Type="http://schemas.openxmlformats.org/officeDocument/2006/relationships/chart" Target="../charts/chart29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chart" Target="../charts/chart298.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6.xml.rels><?xml version="1.0" encoding="UTF-8" standalone="yes"?>
<Relationships xmlns="http://schemas.openxmlformats.org/package/2006/relationships"><Relationship Id="rId8" Type="http://schemas.openxmlformats.org/officeDocument/2006/relationships/chart" Target="../charts/chart301.xml"/><Relationship Id="rId3" Type="http://schemas.openxmlformats.org/officeDocument/2006/relationships/notesSlide" Target="../notesSlides/notesSlide76.xml"/><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99.xml"/><Relationship Id="rId11" Type="http://schemas.openxmlformats.org/officeDocument/2006/relationships/chart" Target="../charts/chart304.xml"/><Relationship Id="rId5" Type="http://schemas.openxmlformats.org/officeDocument/2006/relationships/image" Target="../media/image28.emf"/><Relationship Id="rId10" Type="http://schemas.openxmlformats.org/officeDocument/2006/relationships/chart" Target="../charts/chart303.xml"/><Relationship Id="rId4" Type="http://schemas.openxmlformats.org/officeDocument/2006/relationships/oleObject" Target="../embeddings/oleObject27.bin"/><Relationship Id="rId9" Type="http://schemas.openxmlformats.org/officeDocument/2006/relationships/chart" Target="../charts/chart302.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chart" Target="../charts/chart306.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8.xml.rels><?xml version="1.0" encoding="UTF-8" standalone="yes"?>
<Relationships xmlns="http://schemas.openxmlformats.org/package/2006/relationships"><Relationship Id="rId8" Type="http://schemas.openxmlformats.org/officeDocument/2006/relationships/chart" Target="../charts/chart309.xml"/><Relationship Id="rId3" Type="http://schemas.openxmlformats.org/officeDocument/2006/relationships/notesSlide" Target="../notesSlides/notesSlide78.xml"/><Relationship Id="rId7" Type="http://schemas.openxmlformats.org/officeDocument/2006/relationships/chart" Target="../charts/chart308.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307.xml"/><Relationship Id="rId11" Type="http://schemas.openxmlformats.org/officeDocument/2006/relationships/chart" Target="../charts/chart312.xml"/><Relationship Id="rId5" Type="http://schemas.openxmlformats.org/officeDocument/2006/relationships/image" Target="../media/image28.emf"/><Relationship Id="rId10" Type="http://schemas.openxmlformats.org/officeDocument/2006/relationships/chart" Target="../charts/chart311.xml"/><Relationship Id="rId4" Type="http://schemas.openxmlformats.org/officeDocument/2006/relationships/oleObject" Target="../embeddings/oleObject27.bin"/><Relationship Id="rId9" Type="http://schemas.openxmlformats.org/officeDocument/2006/relationships/chart" Target="../charts/chart31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chart" Target="../charts/chart314.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3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8.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7.xml"/><Relationship Id="rId11" Type="http://schemas.openxmlformats.org/officeDocument/2006/relationships/chart" Target="../charts/chart32.xml"/><Relationship Id="rId5" Type="http://schemas.openxmlformats.org/officeDocument/2006/relationships/image" Target="../media/image28.emf"/><Relationship Id="rId10" Type="http://schemas.openxmlformats.org/officeDocument/2006/relationships/chart" Target="../charts/chart31.xml"/><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80.xml.rels><?xml version="1.0" encoding="UTF-8" standalone="yes"?>
<Relationships xmlns="http://schemas.openxmlformats.org/package/2006/relationships"><Relationship Id="rId8" Type="http://schemas.openxmlformats.org/officeDocument/2006/relationships/chart" Target="../charts/chart317.xml"/><Relationship Id="rId3" Type="http://schemas.openxmlformats.org/officeDocument/2006/relationships/notesSlide" Target="../notesSlides/notesSlide80.xml"/><Relationship Id="rId7" Type="http://schemas.openxmlformats.org/officeDocument/2006/relationships/chart" Target="../charts/chart316.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315.xml"/><Relationship Id="rId11" Type="http://schemas.openxmlformats.org/officeDocument/2006/relationships/chart" Target="../charts/chart320.xml"/><Relationship Id="rId5" Type="http://schemas.openxmlformats.org/officeDocument/2006/relationships/image" Target="../media/image28.emf"/><Relationship Id="rId10" Type="http://schemas.openxmlformats.org/officeDocument/2006/relationships/chart" Target="../charts/chart319.xml"/><Relationship Id="rId4" Type="http://schemas.openxmlformats.org/officeDocument/2006/relationships/oleObject" Target="../embeddings/oleObject27.bin"/><Relationship Id="rId9" Type="http://schemas.openxmlformats.org/officeDocument/2006/relationships/chart" Target="../charts/chart318.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chart" Target="../charts/chart322.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8" Type="http://schemas.openxmlformats.org/officeDocument/2006/relationships/chart" Target="../charts/chart325.xml"/><Relationship Id="rId3" Type="http://schemas.openxmlformats.org/officeDocument/2006/relationships/notesSlide" Target="../notesSlides/notesSlide82.xml"/><Relationship Id="rId7" Type="http://schemas.openxmlformats.org/officeDocument/2006/relationships/chart" Target="../charts/chart324.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323.xml"/><Relationship Id="rId11" Type="http://schemas.openxmlformats.org/officeDocument/2006/relationships/chart" Target="../charts/chart328.xml"/><Relationship Id="rId5" Type="http://schemas.openxmlformats.org/officeDocument/2006/relationships/image" Target="../media/image28.emf"/><Relationship Id="rId10" Type="http://schemas.openxmlformats.org/officeDocument/2006/relationships/chart" Target="../charts/chart327.xml"/><Relationship Id="rId4" Type="http://schemas.openxmlformats.org/officeDocument/2006/relationships/oleObject" Target="../embeddings/oleObject27.bin"/><Relationship Id="rId9" Type="http://schemas.openxmlformats.org/officeDocument/2006/relationships/chart" Target="../charts/chart326.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chart" Target="../charts/chart330.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8" Type="http://schemas.openxmlformats.org/officeDocument/2006/relationships/chart" Target="../charts/chart333.xml"/><Relationship Id="rId3" Type="http://schemas.openxmlformats.org/officeDocument/2006/relationships/notesSlide" Target="../notesSlides/notesSlide84.xml"/><Relationship Id="rId7" Type="http://schemas.openxmlformats.org/officeDocument/2006/relationships/chart" Target="../charts/chart33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331.xml"/><Relationship Id="rId11" Type="http://schemas.openxmlformats.org/officeDocument/2006/relationships/chart" Target="../charts/chart336.xml"/><Relationship Id="rId5" Type="http://schemas.openxmlformats.org/officeDocument/2006/relationships/image" Target="../media/image28.emf"/><Relationship Id="rId10" Type="http://schemas.openxmlformats.org/officeDocument/2006/relationships/chart" Target="../charts/chart335.xml"/><Relationship Id="rId4" Type="http://schemas.openxmlformats.org/officeDocument/2006/relationships/oleObject" Target="../embeddings/oleObject27.bin"/><Relationship Id="rId9" Type="http://schemas.openxmlformats.org/officeDocument/2006/relationships/chart" Target="../charts/chart334.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chart" Target="../charts/chart338.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3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8" Type="http://schemas.openxmlformats.org/officeDocument/2006/relationships/chart" Target="../charts/chart341.xml"/><Relationship Id="rId3" Type="http://schemas.openxmlformats.org/officeDocument/2006/relationships/notesSlide" Target="../notesSlides/notesSlide86.xml"/><Relationship Id="rId7" Type="http://schemas.openxmlformats.org/officeDocument/2006/relationships/chart" Target="../charts/chart340.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339.xml"/><Relationship Id="rId11" Type="http://schemas.openxmlformats.org/officeDocument/2006/relationships/chart" Target="../charts/chart344.xml"/><Relationship Id="rId5" Type="http://schemas.openxmlformats.org/officeDocument/2006/relationships/image" Target="../media/image28.emf"/><Relationship Id="rId10" Type="http://schemas.openxmlformats.org/officeDocument/2006/relationships/chart" Target="../charts/chart343.xml"/><Relationship Id="rId4" Type="http://schemas.openxmlformats.org/officeDocument/2006/relationships/oleObject" Target="../embeddings/oleObject27.bin"/><Relationship Id="rId9" Type="http://schemas.openxmlformats.org/officeDocument/2006/relationships/chart" Target="../charts/chart342.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chart" Target="../charts/chart346.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3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8" Type="http://schemas.openxmlformats.org/officeDocument/2006/relationships/chart" Target="../charts/chart349.xml"/><Relationship Id="rId3" Type="http://schemas.openxmlformats.org/officeDocument/2006/relationships/notesSlide" Target="../notesSlides/notesSlide88.xml"/><Relationship Id="rId7" Type="http://schemas.openxmlformats.org/officeDocument/2006/relationships/chart" Target="../charts/chart348.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347.xml"/><Relationship Id="rId11" Type="http://schemas.openxmlformats.org/officeDocument/2006/relationships/chart" Target="../charts/chart352.xml"/><Relationship Id="rId5" Type="http://schemas.openxmlformats.org/officeDocument/2006/relationships/image" Target="../media/image28.emf"/><Relationship Id="rId10" Type="http://schemas.openxmlformats.org/officeDocument/2006/relationships/chart" Target="../charts/chart351.xml"/><Relationship Id="rId4" Type="http://schemas.openxmlformats.org/officeDocument/2006/relationships/oleObject" Target="../embeddings/oleObject27.bin"/><Relationship Id="rId9" Type="http://schemas.openxmlformats.org/officeDocument/2006/relationships/chart" Target="../charts/chart350.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chart" Target="../charts/chart354.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3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8" Type="http://schemas.openxmlformats.org/officeDocument/2006/relationships/chart" Target="../charts/chart357.xml"/><Relationship Id="rId3" Type="http://schemas.openxmlformats.org/officeDocument/2006/relationships/notesSlide" Target="../notesSlides/notesSlide90.xml"/><Relationship Id="rId7" Type="http://schemas.openxmlformats.org/officeDocument/2006/relationships/chart" Target="../charts/chart356.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355.xml"/><Relationship Id="rId11" Type="http://schemas.openxmlformats.org/officeDocument/2006/relationships/chart" Target="../charts/chart360.xml"/><Relationship Id="rId5" Type="http://schemas.openxmlformats.org/officeDocument/2006/relationships/image" Target="../media/image28.emf"/><Relationship Id="rId10" Type="http://schemas.openxmlformats.org/officeDocument/2006/relationships/chart" Target="../charts/chart359.xml"/><Relationship Id="rId4" Type="http://schemas.openxmlformats.org/officeDocument/2006/relationships/oleObject" Target="../embeddings/oleObject27.bin"/><Relationship Id="rId9" Type="http://schemas.openxmlformats.org/officeDocument/2006/relationships/chart" Target="../charts/chart358.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7" Type="http://schemas.openxmlformats.org/officeDocument/2006/relationships/chart" Target="../charts/chart362.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3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8" Type="http://schemas.openxmlformats.org/officeDocument/2006/relationships/chart" Target="../charts/chart365.xml"/><Relationship Id="rId3" Type="http://schemas.openxmlformats.org/officeDocument/2006/relationships/notesSlide" Target="../notesSlides/notesSlide92.xml"/><Relationship Id="rId7" Type="http://schemas.openxmlformats.org/officeDocument/2006/relationships/chart" Target="../charts/chart364.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363.xml"/><Relationship Id="rId11" Type="http://schemas.openxmlformats.org/officeDocument/2006/relationships/chart" Target="../charts/chart368.xml"/><Relationship Id="rId5" Type="http://schemas.openxmlformats.org/officeDocument/2006/relationships/image" Target="../media/image28.emf"/><Relationship Id="rId10" Type="http://schemas.openxmlformats.org/officeDocument/2006/relationships/chart" Target="../charts/chart367.xml"/><Relationship Id="rId4" Type="http://schemas.openxmlformats.org/officeDocument/2006/relationships/oleObject" Target="../embeddings/oleObject27.bin"/><Relationship Id="rId9" Type="http://schemas.openxmlformats.org/officeDocument/2006/relationships/chart" Target="../charts/chart366.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chart" Target="../charts/chart370.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3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8" Type="http://schemas.openxmlformats.org/officeDocument/2006/relationships/chart" Target="../charts/chart373.xml"/><Relationship Id="rId3" Type="http://schemas.openxmlformats.org/officeDocument/2006/relationships/notesSlide" Target="../notesSlides/notesSlide94.xml"/><Relationship Id="rId7" Type="http://schemas.openxmlformats.org/officeDocument/2006/relationships/chart" Target="../charts/chart37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371.xml"/><Relationship Id="rId11" Type="http://schemas.openxmlformats.org/officeDocument/2006/relationships/chart" Target="../charts/chart376.xml"/><Relationship Id="rId5" Type="http://schemas.openxmlformats.org/officeDocument/2006/relationships/image" Target="../media/image28.emf"/><Relationship Id="rId10" Type="http://schemas.openxmlformats.org/officeDocument/2006/relationships/chart" Target="../charts/chart375.xml"/><Relationship Id="rId4" Type="http://schemas.openxmlformats.org/officeDocument/2006/relationships/oleObject" Target="../embeddings/oleObject27.bin"/><Relationship Id="rId9" Type="http://schemas.openxmlformats.org/officeDocument/2006/relationships/chart" Target="../charts/chart374.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chart" Target="../charts/chart378.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3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8" Type="http://schemas.openxmlformats.org/officeDocument/2006/relationships/chart" Target="../charts/chart381.xml"/><Relationship Id="rId3" Type="http://schemas.openxmlformats.org/officeDocument/2006/relationships/notesSlide" Target="../notesSlides/notesSlide96.xml"/><Relationship Id="rId7" Type="http://schemas.openxmlformats.org/officeDocument/2006/relationships/chart" Target="../charts/chart380.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379.xml"/><Relationship Id="rId11" Type="http://schemas.openxmlformats.org/officeDocument/2006/relationships/chart" Target="../charts/chart384.xml"/><Relationship Id="rId5" Type="http://schemas.openxmlformats.org/officeDocument/2006/relationships/image" Target="../media/image28.emf"/><Relationship Id="rId10" Type="http://schemas.openxmlformats.org/officeDocument/2006/relationships/chart" Target="../charts/chart383.xml"/><Relationship Id="rId4" Type="http://schemas.openxmlformats.org/officeDocument/2006/relationships/oleObject" Target="../embeddings/oleObject27.bin"/><Relationship Id="rId9" Type="http://schemas.openxmlformats.org/officeDocument/2006/relationships/chart" Target="../charts/chart382.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chart" Target="../charts/chart386.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3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7" Type="http://schemas.openxmlformats.org/officeDocument/2006/relationships/chart" Target="../charts/chart388.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3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7" Type="http://schemas.openxmlformats.org/officeDocument/2006/relationships/chart" Target="../charts/chart390.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389.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1716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2610661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705199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743719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816941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660920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6592415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84840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349625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091781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482281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187429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015699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7436642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0289569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2343192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8333133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79688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71926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6210396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3725173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21128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30584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202381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967297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8307483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107456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4657809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707949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4273532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2292748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0190446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921289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73238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2010170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7232863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7604111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0379805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9134990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4237334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025210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961174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755396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5939096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68182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1137680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9823964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672134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161960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0622276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0541972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284476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165681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9974997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7951481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969525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9561906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1121106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021351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396044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5008720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915871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441957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851599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76420516"/>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23904120"/>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12986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0024763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87952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8447007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2559094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897825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705125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016113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5936444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802990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94194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94241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4258743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4803635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063450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2713992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0103647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183888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4538947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5381232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4990597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8670709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00192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9159264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615757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329706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0006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3887313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967754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904261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8293282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165987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1877614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3693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024523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403769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052031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6523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622613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653475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819600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322212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712535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223334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7233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333231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5383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83442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59077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128446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623026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7643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82678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94719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2788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77044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545906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54609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588620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95420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299565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097352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677535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664671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70218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770898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50032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649487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878071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559093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6711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559346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281410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33997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47594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921415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343497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24949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416607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775129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147114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1852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6626485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850236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27545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3963875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784976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156460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46840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5222074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739872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069497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814813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092590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ce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383525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5716726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Aeroso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418767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2378955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1483913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91791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Emuls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743125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548997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Fl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0690618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85816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0471698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0496549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3962458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Gel-Crema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2246173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54244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8461298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50293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oci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0349998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040276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Mous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8443082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49025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7588299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Roll-O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1003404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37553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erum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571277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6197710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pray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7891586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851910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Stick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6756669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6192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0901161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68746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9</TotalTime>
  <Words>14510</Words>
  <Application>Microsoft Office PowerPoint</Application>
  <PresentationFormat>On-screen Show (16:9)</PresentationFormat>
  <Paragraphs>3925</Paragraphs>
  <Slides>192</Slides>
  <Notes>19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92</vt:i4>
      </vt:variant>
    </vt:vector>
  </HeadingPairs>
  <TitlesOfParts>
    <vt:vector size="203"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5</cp:revision>
  <dcterms:created xsi:type="dcterms:W3CDTF">2024-07-05T11:30:58Z</dcterms:created>
  <dcterms:modified xsi:type="dcterms:W3CDTF">2025-07-01T07:3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